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4.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xml" ContentType="application/vnd.openxmlformats-officedocument.presentationml.notesSlide+xml"/>
  <Override PartName="/ppt/tags/tag67.xml" ContentType="application/vnd.openxmlformats-officedocument.presentationml.tags+xml"/>
  <Override PartName="/ppt/notesSlides/notesSlide3.xml" ContentType="application/vnd.openxmlformats-officedocument.presentationml.notesSlide+xml"/>
  <Override PartName="/ppt/tags/tag68.xml" ContentType="application/vnd.openxmlformats-officedocument.presentationml.tags+xml"/>
  <Override PartName="/ppt/notesSlides/notesSlide4.xml" ContentType="application/vnd.openxmlformats-officedocument.presentationml.notesSlide+xml"/>
  <Override PartName="/ppt/tags/tag69.xml" ContentType="application/vnd.openxmlformats-officedocument.presentationml.tags+xml"/>
  <Override PartName="/ppt/notesSlides/notesSlide5.xml" ContentType="application/vnd.openxmlformats-officedocument.presentationml.notesSlide+xml"/>
  <Override PartName="/ppt/tags/tag70.xml" ContentType="application/vnd.openxmlformats-officedocument.presentationml.tags+xml"/>
  <Override PartName="/ppt/notesSlides/notesSlide6.xml" ContentType="application/vnd.openxmlformats-officedocument.presentationml.notesSlide+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notesSlides/notesSlide11.xml" ContentType="application/vnd.openxmlformats-officedocument.presentationml.notesSlide+xml"/>
  <Override PartName="/ppt/tags/tag76.xml" ContentType="application/vnd.openxmlformats-officedocument.presentationml.tags+xml"/>
  <Override PartName="/ppt/notesSlides/notesSlide12.xml" ContentType="application/vnd.openxmlformats-officedocument.presentationml.notesSlide+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notesSlides/notesSlide14.xml" ContentType="application/vnd.openxmlformats-officedocument.presentationml.notesSlide+xml"/>
  <Override PartName="/ppt/tags/tag79.xml" ContentType="application/vnd.openxmlformats-officedocument.presentationml.tags+xml"/>
  <Override PartName="/ppt/notesSlides/notesSlide15.xml" ContentType="application/vnd.openxmlformats-officedocument.presentationml.notesSlide+xml"/>
  <Override PartName="/ppt/tags/tag80.xml" ContentType="application/vnd.openxmlformats-officedocument.presentationml.tags+xml"/>
  <Override PartName="/ppt/notesSlides/notesSlide16.xml" ContentType="application/vnd.openxmlformats-officedocument.presentationml.notesSlide+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notesSlides/notesSlide19.xml" ContentType="application/vnd.openxmlformats-officedocument.presentationml.notesSlide+xml"/>
  <Override PartName="/ppt/tags/tag84.xml" ContentType="application/vnd.openxmlformats-officedocument.presentationml.tags+xml"/>
  <Override PartName="/ppt/notesSlides/notesSlide20.xml" ContentType="application/vnd.openxmlformats-officedocument.presentationml.notesSlide+xml"/>
  <Override PartName="/ppt/tags/tag85.xml" ContentType="application/vnd.openxmlformats-officedocument.presentationml.tags+xml"/>
  <Override PartName="/ppt/notesSlides/notesSlide21.xml" ContentType="application/vnd.openxmlformats-officedocument.presentationml.notesSlide+xml"/>
  <Override PartName="/ppt/tags/tag86.xml" ContentType="application/vnd.openxmlformats-officedocument.presentationml.tags+xml"/>
  <Override PartName="/ppt/notesSlides/notesSlide22.xml" ContentType="application/vnd.openxmlformats-officedocument.presentationml.notesSlide+xml"/>
  <Override PartName="/ppt/tags/tag87.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4"/>
    <p:sldMasterId id="2147483665" r:id="rId5"/>
    <p:sldMasterId id="2147483693" r:id="rId6"/>
  </p:sldMasterIdLst>
  <p:notesMasterIdLst>
    <p:notesMasterId r:id="rId31"/>
  </p:notesMasterIdLst>
  <p:sldIdLst>
    <p:sldId id="292" r:id="rId7"/>
    <p:sldId id="2145707882" r:id="rId8"/>
    <p:sldId id="256" r:id="rId9"/>
    <p:sldId id="257" r:id="rId10"/>
    <p:sldId id="258" r:id="rId11"/>
    <p:sldId id="259" r:id="rId12"/>
    <p:sldId id="276" r:id="rId13"/>
    <p:sldId id="278" r:id="rId14"/>
    <p:sldId id="281" r:id="rId15"/>
    <p:sldId id="287" r:id="rId16"/>
    <p:sldId id="282" r:id="rId17"/>
    <p:sldId id="285" r:id="rId18"/>
    <p:sldId id="286" r:id="rId19"/>
    <p:sldId id="266" r:id="rId20"/>
    <p:sldId id="271" r:id="rId21"/>
    <p:sldId id="288" r:id="rId22"/>
    <p:sldId id="267" r:id="rId23"/>
    <p:sldId id="273" r:id="rId24"/>
    <p:sldId id="269" r:id="rId25"/>
    <p:sldId id="289" r:id="rId26"/>
    <p:sldId id="291" r:id="rId27"/>
    <p:sldId id="268" r:id="rId28"/>
    <p:sldId id="280" r:id="rId29"/>
    <p:sldId id="275" r:id="rId30"/>
  </p:sldIdLst>
  <p:sldSz cx="10693400" cy="7562850"/>
  <p:notesSz cx="10693400" cy="7562850"/>
  <p:custDataLst>
    <p:tags r:id="rId32"/>
  </p:custDataLst>
  <p:defaultTextStyle>
    <a:defPPr>
      <a:defRPr kern="0"/>
    </a:defPPr>
  </p:defaultTextStyle>
  <p:extLst>
    <p:ext uri="{EFAFB233-063F-42B5-8137-9DF3F51BA10A}">
      <p15:sldGuideLst xmlns:p15="http://schemas.microsoft.com/office/powerpoint/2012/main">
        <p15:guide id="1" orient="horz" pos="2880" userDrawn="1">
          <p15:clr>
            <a:srgbClr val="A4A3A4"/>
          </p15:clr>
        </p15:guide>
        <p15:guide id="2" pos="21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87C5"/>
    <a:srgbClr val="AFABAB"/>
    <a:srgbClr val="F8B737"/>
    <a:srgbClr val="FF8800"/>
    <a:srgbClr val="000000"/>
    <a:srgbClr val="ABAEB7"/>
    <a:srgbClr val="38639F"/>
    <a:srgbClr val="5987C6"/>
    <a:srgbClr val="4D4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06" autoAdjust="0"/>
    <p:restoredTop sz="94609" autoAdjust="0"/>
  </p:normalViewPr>
  <p:slideViewPr>
    <p:cSldViewPr snapToGrid="0">
      <p:cViewPr varScale="1">
        <p:scale>
          <a:sx n="97" d="100"/>
          <a:sy n="97" d="100"/>
        </p:scale>
        <p:origin x="1404" y="90"/>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atin typeface="Slate Pro" panose="02000506040000020004" pitchFamily="2" charset="0"/>
                <a:sym typeface="Slate Pro" panose="02000506040000020004" pitchFamily="2" charset="0"/>
              </a:defRPr>
            </a:lvl1pPr>
          </a:lstStyle>
          <a:p>
            <a:endParaRPr lang="en-US"/>
          </a:p>
        </p:txBody>
      </p:sp>
      <p:sp>
        <p:nvSpPr>
          <p:cNvPr id="3" name="Date Placeholder 2"/>
          <p:cNvSpPr>
            <a:spLocks noGrp="1"/>
          </p:cNvSpPr>
          <p:nvPr>
            <p:ph type="dt" idx="1"/>
          </p:nvPr>
        </p:nvSpPr>
        <p:spPr>
          <a:xfrm>
            <a:off x="6057900" y="0"/>
            <a:ext cx="4632325" cy="379413"/>
          </a:xfrm>
          <a:prstGeom prst="rect">
            <a:avLst/>
          </a:prstGeom>
        </p:spPr>
        <p:txBody>
          <a:bodyPr vert="horz" lIns="91440" tIns="45720" rIns="91440" bIns="45720" rtlCol="0"/>
          <a:lstStyle>
            <a:lvl1pPr algn="r">
              <a:defRPr sz="1200">
                <a:latin typeface="Slate Pro" panose="02000506040000020004" pitchFamily="2" charset="0"/>
                <a:sym typeface="Slate Pro" panose="02000506040000020004" pitchFamily="2" charset="0"/>
              </a:defRPr>
            </a:lvl1pPr>
          </a:lstStyle>
          <a:p>
            <a:fld id="{1C28EF9F-F2A9-4153-A747-1796A146DE63}" type="datetimeFigureOut">
              <a:rPr lang="en-US" smtClean="0"/>
              <a:pPr/>
              <a:t>11/8/2023</a:t>
            </a:fld>
            <a:endParaRPr lang="en-US"/>
          </a:p>
        </p:txBody>
      </p:sp>
      <p:sp>
        <p:nvSpPr>
          <p:cNvPr id="4" name="Slide Image Placeholder 3"/>
          <p:cNvSpPr>
            <a:spLocks noGrp="1" noRot="1" noChangeAspect="1"/>
          </p:cNvSpPr>
          <p:nvPr>
            <p:ph type="sldImg" idx="2"/>
          </p:nvPr>
        </p:nvSpPr>
        <p:spPr>
          <a:xfrm>
            <a:off x="3543300" y="946150"/>
            <a:ext cx="3606800" cy="25511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69975" y="3640138"/>
            <a:ext cx="8553450" cy="29781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7183438"/>
            <a:ext cx="4633913" cy="379412"/>
          </a:xfrm>
          <a:prstGeom prst="rect">
            <a:avLst/>
          </a:prstGeom>
        </p:spPr>
        <p:txBody>
          <a:bodyPr vert="horz" lIns="91440" tIns="45720" rIns="91440" bIns="45720" rtlCol="0" anchor="b"/>
          <a:lstStyle>
            <a:lvl1pPr algn="l">
              <a:defRPr sz="1200">
                <a:latin typeface="Slate Pro" panose="02000506040000020004" pitchFamily="2" charset="0"/>
                <a:sym typeface="Slate Pro" panose="02000506040000020004" pitchFamily="2" charset="0"/>
              </a:defRPr>
            </a:lvl1pPr>
          </a:lstStyle>
          <a:p>
            <a:endParaRPr lang="en-US"/>
          </a:p>
        </p:txBody>
      </p:sp>
      <p:sp>
        <p:nvSpPr>
          <p:cNvPr id="7" name="Slide Number Placeholder 6"/>
          <p:cNvSpPr>
            <a:spLocks noGrp="1"/>
          </p:cNvSpPr>
          <p:nvPr>
            <p:ph type="sldNum" sz="quarter" idx="5"/>
          </p:nvPr>
        </p:nvSpPr>
        <p:spPr>
          <a:xfrm>
            <a:off x="6057900" y="7183438"/>
            <a:ext cx="4632325" cy="379412"/>
          </a:xfrm>
          <a:prstGeom prst="rect">
            <a:avLst/>
          </a:prstGeom>
        </p:spPr>
        <p:txBody>
          <a:bodyPr vert="horz" lIns="91440" tIns="45720" rIns="91440" bIns="45720" rtlCol="0" anchor="b"/>
          <a:lstStyle>
            <a:lvl1pPr algn="r">
              <a:defRPr sz="1200">
                <a:latin typeface="Slate Pro" panose="02000506040000020004" pitchFamily="2" charset="0"/>
                <a:sym typeface="Slate Pro" panose="02000506040000020004" pitchFamily="2" charset="0"/>
              </a:defRPr>
            </a:lvl1pPr>
          </a:lstStyle>
          <a:p>
            <a:fld id="{0D2B72CE-E130-4802-B6F3-570585E57394}" type="slidenum">
              <a:rPr lang="en-US" smtClean="0"/>
              <a:pPr/>
              <a:t>‹#›</a:t>
            </a:fld>
            <a:endParaRPr lang="en-US"/>
          </a:p>
        </p:txBody>
      </p:sp>
    </p:spTree>
    <p:extLst>
      <p:ext uri="{BB962C8B-B14F-4D97-AF65-F5344CB8AC3E}">
        <p14:creationId xmlns:p14="http://schemas.microsoft.com/office/powerpoint/2010/main" val="30730369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1pPr>
    <a:lvl2pPr marL="4572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2pPr>
    <a:lvl3pPr marL="9144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3pPr>
    <a:lvl4pPr marL="13716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4pPr>
    <a:lvl5pPr marL="18288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a:t>
            </a:fld>
            <a:endParaRPr lang="en-US"/>
          </a:p>
        </p:txBody>
      </p:sp>
    </p:spTree>
    <p:extLst>
      <p:ext uri="{BB962C8B-B14F-4D97-AF65-F5344CB8AC3E}">
        <p14:creationId xmlns:p14="http://schemas.microsoft.com/office/powerpoint/2010/main" val="3684469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1</a:t>
            </a:fld>
            <a:endParaRPr lang="en-US"/>
          </a:p>
        </p:txBody>
      </p:sp>
    </p:spTree>
    <p:extLst>
      <p:ext uri="{BB962C8B-B14F-4D97-AF65-F5344CB8AC3E}">
        <p14:creationId xmlns:p14="http://schemas.microsoft.com/office/powerpoint/2010/main" val="719866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3300" y="946150"/>
            <a:ext cx="3606800" cy="25511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2</a:t>
            </a:fld>
            <a:endParaRPr lang="en-US"/>
          </a:p>
        </p:txBody>
      </p:sp>
    </p:spTree>
    <p:extLst>
      <p:ext uri="{BB962C8B-B14F-4D97-AF65-F5344CB8AC3E}">
        <p14:creationId xmlns:p14="http://schemas.microsoft.com/office/powerpoint/2010/main" val="14049879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3300" y="946150"/>
            <a:ext cx="3606800" cy="25511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3</a:t>
            </a:fld>
            <a:endParaRPr lang="en-US"/>
          </a:p>
        </p:txBody>
      </p:sp>
    </p:spTree>
    <p:extLst>
      <p:ext uri="{BB962C8B-B14F-4D97-AF65-F5344CB8AC3E}">
        <p14:creationId xmlns:p14="http://schemas.microsoft.com/office/powerpoint/2010/main" val="3002666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4</a:t>
            </a:fld>
            <a:endParaRPr lang="en-US"/>
          </a:p>
        </p:txBody>
      </p:sp>
    </p:spTree>
    <p:extLst>
      <p:ext uri="{BB962C8B-B14F-4D97-AF65-F5344CB8AC3E}">
        <p14:creationId xmlns:p14="http://schemas.microsoft.com/office/powerpoint/2010/main" val="12846119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5</a:t>
            </a:fld>
            <a:endParaRPr lang="en-US"/>
          </a:p>
        </p:txBody>
      </p:sp>
    </p:spTree>
    <p:extLst>
      <p:ext uri="{BB962C8B-B14F-4D97-AF65-F5344CB8AC3E}">
        <p14:creationId xmlns:p14="http://schemas.microsoft.com/office/powerpoint/2010/main" val="3843109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6</a:t>
            </a:fld>
            <a:endParaRPr lang="en-US"/>
          </a:p>
        </p:txBody>
      </p:sp>
    </p:spTree>
    <p:extLst>
      <p:ext uri="{BB962C8B-B14F-4D97-AF65-F5344CB8AC3E}">
        <p14:creationId xmlns:p14="http://schemas.microsoft.com/office/powerpoint/2010/main" val="2328100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3300" y="946150"/>
            <a:ext cx="3606800" cy="25511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7</a:t>
            </a:fld>
            <a:endParaRPr lang="en-US"/>
          </a:p>
        </p:txBody>
      </p:sp>
    </p:spTree>
    <p:extLst>
      <p:ext uri="{BB962C8B-B14F-4D97-AF65-F5344CB8AC3E}">
        <p14:creationId xmlns:p14="http://schemas.microsoft.com/office/powerpoint/2010/main" val="2305902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8</a:t>
            </a:fld>
            <a:endParaRPr lang="en-US"/>
          </a:p>
        </p:txBody>
      </p:sp>
    </p:spTree>
    <p:extLst>
      <p:ext uri="{BB962C8B-B14F-4D97-AF65-F5344CB8AC3E}">
        <p14:creationId xmlns:p14="http://schemas.microsoft.com/office/powerpoint/2010/main" val="38258744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9</a:t>
            </a:fld>
            <a:endParaRPr lang="en-US"/>
          </a:p>
        </p:txBody>
      </p:sp>
    </p:spTree>
    <p:extLst>
      <p:ext uri="{BB962C8B-B14F-4D97-AF65-F5344CB8AC3E}">
        <p14:creationId xmlns:p14="http://schemas.microsoft.com/office/powerpoint/2010/main" val="8782068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20</a:t>
            </a:fld>
            <a:endParaRPr lang="en-US"/>
          </a:p>
        </p:txBody>
      </p:sp>
    </p:spTree>
    <p:extLst>
      <p:ext uri="{BB962C8B-B14F-4D97-AF65-F5344CB8AC3E}">
        <p14:creationId xmlns:p14="http://schemas.microsoft.com/office/powerpoint/2010/main" val="2515001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3</a:t>
            </a:fld>
            <a:endParaRPr lang="en-US"/>
          </a:p>
        </p:txBody>
      </p:sp>
    </p:spTree>
    <p:extLst>
      <p:ext uri="{BB962C8B-B14F-4D97-AF65-F5344CB8AC3E}">
        <p14:creationId xmlns:p14="http://schemas.microsoft.com/office/powerpoint/2010/main" val="9176642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21</a:t>
            </a:fld>
            <a:endParaRPr lang="en-US"/>
          </a:p>
        </p:txBody>
      </p:sp>
    </p:spTree>
    <p:extLst>
      <p:ext uri="{BB962C8B-B14F-4D97-AF65-F5344CB8AC3E}">
        <p14:creationId xmlns:p14="http://schemas.microsoft.com/office/powerpoint/2010/main" val="32969631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22</a:t>
            </a:fld>
            <a:endParaRPr lang="en-US"/>
          </a:p>
        </p:txBody>
      </p:sp>
    </p:spTree>
    <p:extLst>
      <p:ext uri="{BB962C8B-B14F-4D97-AF65-F5344CB8AC3E}">
        <p14:creationId xmlns:p14="http://schemas.microsoft.com/office/powerpoint/2010/main" val="29458517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23</a:t>
            </a:fld>
            <a:endParaRPr lang="en-US"/>
          </a:p>
        </p:txBody>
      </p:sp>
    </p:spTree>
    <p:extLst>
      <p:ext uri="{BB962C8B-B14F-4D97-AF65-F5344CB8AC3E}">
        <p14:creationId xmlns:p14="http://schemas.microsoft.com/office/powerpoint/2010/main" val="2623689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24</a:t>
            </a:fld>
            <a:endParaRPr lang="en-US"/>
          </a:p>
        </p:txBody>
      </p:sp>
    </p:spTree>
    <p:extLst>
      <p:ext uri="{BB962C8B-B14F-4D97-AF65-F5344CB8AC3E}">
        <p14:creationId xmlns:p14="http://schemas.microsoft.com/office/powerpoint/2010/main" val="1924990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4</a:t>
            </a:fld>
            <a:endParaRPr lang="en-US"/>
          </a:p>
        </p:txBody>
      </p:sp>
    </p:spTree>
    <p:extLst>
      <p:ext uri="{BB962C8B-B14F-4D97-AF65-F5344CB8AC3E}">
        <p14:creationId xmlns:p14="http://schemas.microsoft.com/office/powerpoint/2010/main" val="2485730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5</a:t>
            </a:fld>
            <a:endParaRPr lang="en-US"/>
          </a:p>
        </p:txBody>
      </p:sp>
    </p:spTree>
    <p:extLst>
      <p:ext uri="{BB962C8B-B14F-4D97-AF65-F5344CB8AC3E}">
        <p14:creationId xmlns:p14="http://schemas.microsoft.com/office/powerpoint/2010/main" val="3334692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6</a:t>
            </a:fld>
            <a:endParaRPr lang="en-US"/>
          </a:p>
        </p:txBody>
      </p:sp>
    </p:spTree>
    <p:extLst>
      <p:ext uri="{BB962C8B-B14F-4D97-AF65-F5344CB8AC3E}">
        <p14:creationId xmlns:p14="http://schemas.microsoft.com/office/powerpoint/2010/main" val="944503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7</a:t>
            </a:fld>
            <a:endParaRPr lang="en-US"/>
          </a:p>
        </p:txBody>
      </p:sp>
    </p:spTree>
    <p:extLst>
      <p:ext uri="{BB962C8B-B14F-4D97-AF65-F5344CB8AC3E}">
        <p14:creationId xmlns:p14="http://schemas.microsoft.com/office/powerpoint/2010/main" val="1971422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8</a:t>
            </a:fld>
            <a:endParaRPr lang="en-US"/>
          </a:p>
        </p:txBody>
      </p:sp>
    </p:spTree>
    <p:extLst>
      <p:ext uri="{BB962C8B-B14F-4D97-AF65-F5344CB8AC3E}">
        <p14:creationId xmlns:p14="http://schemas.microsoft.com/office/powerpoint/2010/main" val="26059979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3300" y="946150"/>
            <a:ext cx="3606800" cy="25511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9</a:t>
            </a:fld>
            <a:endParaRPr lang="en-US"/>
          </a:p>
        </p:txBody>
      </p:sp>
    </p:spTree>
    <p:extLst>
      <p:ext uri="{BB962C8B-B14F-4D97-AF65-F5344CB8AC3E}">
        <p14:creationId xmlns:p14="http://schemas.microsoft.com/office/powerpoint/2010/main" val="2148541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2B72CE-E130-4802-B6F3-570585E57394}" type="slidenum">
              <a:rPr lang="en-US" smtClean="0"/>
              <a:t>10</a:t>
            </a:fld>
            <a:endParaRPr lang="en-US"/>
          </a:p>
        </p:txBody>
      </p:sp>
    </p:spTree>
    <p:extLst>
      <p:ext uri="{BB962C8B-B14F-4D97-AF65-F5344CB8AC3E}">
        <p14:creationId xmlns:p14="http://schemas.microsoft.com/office/powerpoint/2010/main" val="1823722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6.jpe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7.jpe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8.jpe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9.jpe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microsoft.com/office/2007/relationships/hdphoto" Target="../media/hdphoto2.wdp"/><Relationship Id="rId5" Type="http://schemas.openxmlformats.org/officeDocument/2006/relationships/image" Target="../media/image10.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1.jpe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4.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5.xml"/><Relationship Id="rId5" Type="http://schemas.openxmlformats.org/officeDocument/2006/relationships/image" Target="../media/image6.jpe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6.xml"/><Relationship Id="rId5" Type="http://schemas.openxmlformats.org/officeDocument/2006/relationships/image" Target="../media/image7.jpeg"/><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47.xml"/><Relationship Id="rId5" Type="http://schemas.openxmlformats.org/officeDocument/2006/relationships/image" Target="../media/image8.jpeg"/><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48.xml"/><Relationship Id="rId5" Type="http://schemas.openxmlformats.org/officeDocument/2006/relationships/image" Target="../media/image9.jpe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49.xml"/><Relationship Id="rId6" Type="http://schemas.microsoft.com/office/2007/relationships/hdphoto" Target="../media/hdphoto2.wdp"/><Relationship Id="rId5" Type="http://schemas.openxmlformats.org/officeDocument/2006/relationships/image" Target="../media/image10.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50.xml"/><Relationship Id="rId5" Type="http://schemas.openxmlformats.org/officeDocument/2006/relationships/image" Target="../media/image11.jpeg"/><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5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58.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5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63.xml"/><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4090BD-3439-F11E-2A62-6EB2D19D2543}"/>
              </a:ext>
            </a:extLst>
          </p:cNvPr>
          <p:cNvGraphicFramePr>
            <a:graphicFrameLocks noChangeAspect="1"/>
          </p:cNvGraphicFramePr>
          <p:nvPr userDrawn="1">
            <p:custDataLst>
              <p:tags r:id="rId1"/>
            </p:custDataLst>
            <p:extLst>
              <p:ext uri="{D42A27DB-BD31-4B8C-83A1-F6EECF244321}">
                <p14:modId xmlns:p14="http://schemas.microsoft.com/office/powerpoint/2010/main" val="85877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0" imgH="320" progId="TCLayout.ActiveDocument.1">
                  <p:embed/>
                </p:oleObj>
              </mc:Choice>
              <mc:Fallback>
                <p:oleObj name="think-cell Slide" r:id="rId3" imgW="320" imgH="320" progId="TCLayout.ActiveDocument.1">
                  <p:embed/>
                  <p:pic>
                    <p:nvPicPr>
                      <p:cNvPr id="5" name="think-cell data - do not delete" hidden="1">
                        <a:extLst>
                          <a:ext uri="{FF2B5EF4-FFF2-40B4-BE49-F238E27FC236}">
                            <a16:creationId xmlns:a16="http://schemas.microsoft.com/office/drawing/2014/main" id="{FE4090BD-3439-F11E-2A62-6EB2D19D25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3550" b="1" i="0">
                <a:solidFill>
                  <a:srgbClr val="DA291C"/>
                </a:solidFill>
                <a:latin typeface="Slate Pro" panose="02000506040000020004" pitchFamily="2" charset="0"/>
                <a:cs typeface="Arial"/>
                <a:sym typeface="Slate Pro" panose="02000506040000020004" pitchFamily="2" charset="0"/>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latin typeface="Slate Pro" panose="02000506040000020004" pitchFamily="2" charset="0"/>
                <a:sym typeface="Slate Pro" panose="02000506040000020004" pitchFamily="2" charset="0"/>
              </a:defRPr>
            </a:lvl1pPr>
          </a:lstStyle>
          <a:p>
            <a:endParaRPr/>
          </a:p>
        </p:txBody>
      </p:sp>
      <p:sp>
        <p:nvSpPr>
          <p:cNvPr id="4" name="Holder 4"/>
          <p:cNvSpPr>
            <a:spLocks noGrp="1"/>
          </p:cNvSpPr>
          <p:nvPr>
            <p:ph type="ftr" sz="quarter" idx="5"/>
          </p:nvPr>
        </p:nvSpPr>
        <p:spPr>
          <a:xfrm>
            <a:off x="7167026" y="7274483"/>
            <a:ext cx="2647950" cy="115416"/>
          </a:xfrm>
          <a:prstGeom prst="rect">
            <a:avLst/>
          </a:prstGeom>
        </p:spPr>
        <p:txBody>
          <a:bodyPr lIns="0" tIns="0" rIns="0" bIns="0"/>
          <a:lstStyle>
            <a:lvl1pPr algn="r">
              <a:defRPr sz="900" b="0" i="0">
                <a:solidFill>
                  <a:schemeClr val="bg1"/>
                </a:solidFill>
                <a:latin typeface="Avenir Next LT Pro" panose="020B0504020202020204"/>
                <a:cs typeface="Arial"/>
              </a:defRPr>
            </a:lvl1pPr>
          </a:lstStyle>
          <a:p>
            <a:pPr marL="12700">
              <a:lnSpc>
                <a:spcPts val="930"/>
              </a:lnSpc>
            </a:pPr>
            <a:r>
              <a:rPr lang="en-US">
                <a:latin typeface="Slate Pro" panose="02000506040000020004" pitchFamily="2" charset="0"/>
              </a:rPr>
              <a:t>ACME </a:t>
            </a:r>
            <a:r>
              <a:rPr lang="en-US" spc="-40">
                <a:latin typeface="Slate Pro" panose="02000506040000020004" pitchFamily="2" charset="0"/>
              </a:rPr>
              <a:t>Partner PROGRAM GUIDE</a:t>
            </a:r>
            <a:endParaRPr lang="en-US" spc="-10">
              <a:latin typeface="Slate Pro" panose="02000506040000020004" pitchFamily="2" charset="0"/>
            </a:endParaRPr>
          </a:p>
        </p:txBody>
      </p:sp>
      <p:sp>
        <p:nvSpPr>
          <p:cNvPr id="6" name="Holder 6"/>
          <p:cNvSpPr>
            <a:spLocks noGrp="1"/>
          </p:cNvSpPr>
          <p:nvPr>
            <p:ph type="sldNum" sz="quarter" idx="7"/>
          </p:nvPr>
        </p:nvSpPr>
        <p:spPr>
          <a:xfrm>
            <a:off x="9956610" y="7265289"/>
            <a:ext cx="243204" cy="143052"/>
          </a:xfrm>
        </p:spPr>
        <p:txBody>
          <a:bodyPr lIns="0" tIns="0" rIns="0" bIns="0"/>
          <a:lstStyle>
            <a:lvl1pPr>
              <a:defRPr sz="1100" b="1" i="0">
                <a:solidFill>
                  <a:schemeClr val="bg1"/>
                </a:solidFill>
                <a:latin typeface="Slate Pro" panose="02000506040000020004" pitchFamily="2" charset="0"/>
                <a:cs typeface="Arial"/>
                <a:sym typeface="Slate Pro" panose="02000506040000020004" pitchFamily="2" charset="0"/>
              </a:defRPr>
            </a:lvl1pPr>
          </a:lstStyle>
          <a:p>
            <a:pPr marL="38100">
              <a:lnSpc>
                <a:spcPts val="1115"/>
              </a:lnSpc>
            </a:pPr>
            <a:fld id="{81D60167-4931-47E6-BA6A-407CBD079E47}" type="slidenum">
              <a:rPr lang="en-US" spc="-25" smtClean="0"/>
              <a:pPr marL="38100">
                <a:lnSpc>
                  <a:spcPts val="1115"/>
                </a:lnSpc>
              </a:pPr>
              <a:t>‹#›</a:t>
            </a:fld>
            <a:endParaRPr lang="en-US" spc="-25"/>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8962280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615901" y="861196"/>
            <a:ext cx="3064832" cy="82168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tx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153126657"/>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68236821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grpSp>
        <p:nvGrpSpPr>
          <p:cNvPr id="6" name="Google Shape;202;p13">
            <a:extLst>
              <a:ext uri="{FF2B5EF4-FFF2-40B4-BE49-F238E27FC236}">
                <a16:creationId xmlns:a16="http://schemas.microsoft.com/office/drawing/2014/main" id="{4D50ABB0-31C7-5EED-83FA-E67EBA93CB69}"/>
              </a:ext>
            </a:extLst>
          </p:cNvPr>
          <p:cNvGrpSpPr/>
          <p:nvPr userDrawn="1"/>
        </p:nvGrpSpPr>
        <p:grpSpPr>
          <a:xfrm>
            <a:off x="702214" y="780933"/>
            <a:ext cx="3494345" cy="745107"/>
            <a:chOff x="611188" y="-279400"/>
            <a:chExt cx="3767138" cy="803275"/>
          </a:xfrm>
        </p:grpSpPr>
        <p:sp>
          <p:nvSpPr>
            <p:cNvPr id="7" name="Google Shape;203;p13">
              <a:extLst>
                <a:ext uri="{FF2B5EF4-FFF2-40B4-BE49-F238E27FC236}">
                  <a16:creationId xmlns:a16="http://schemas.microsoft.com/office/drawing/2014/main" id="{25891199-7147-D5D3-A24C-B2AE3A7344EF}"/>
                </a:ext>
              </a:extLst>
            </p:cNvPr>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 name="Google Shape;204;p13">
              <a:extLst>
                <a:ext uri="{FF2B5EF4-FFF2-40B4-BE49-F238E27FC236}">
                  <a16:creationId xmlns:a16="http://schemas.microsoft.com/office/drawing/2014/main" id="{AA2BA42A-A70D-814B-A98A-6E13028B1F32}"/>
                </a:ext>
              </a:extLst>
            </p:cNvPr>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 name="Google Shape;205;p13">
              <a:extLst>
                <a:ext uri="{FF2B5EF4-FFF2-40B4-BE49-F238E27FC236}">
                  <a16:creationId xmlns:a16="http://schemas.microsoft.com/office/drawing/2014/main" id="{406F948F-4D87-E1C2-BB70-DFE007FB2AC2}"/>
                </a:ext>
              </a:extLst>
            </p:cNvPr>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 name="Google Shape;206;p13">
              <a:extLst>
                <a:ext uri="{FF2B5EF4-FFF2-40B4-BE49-F238E27FC236}">
                  <a16:creationId xmlns:a16="http://schemas.microsoft.com/office/drawing/2014/main" id="{7728463A-0303-8EC0-333A-5288F173A72A}"/>
                </a:ext>
              </a:extLst>
            </p:cNvPr>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 name="Google Shape;207;p13">
              <a:extLst>
                <a:ext uri="{FF2B5EF4-FFF2-40B4-BE49-F238E27FC236}">
                  <a16:creationId xmlns:a16="http://schemas.microsoft.com/office/drawing/2014/main" id="{63F0C44A-850A-CF38-2025-59F48CA9EE55}"/>
                </a:ext>
              </a:extLst>
            </p:cNvPr>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2" name="Google Shape;208;p13">
              <a:extLst>
                <a:ext uri="{FF2B5EF4-FFF2-40B4-BE49-F238E27FC236}">
                  <a16:creationId xmlns:a16="http://schemas.microsoft.com/office/drawing/2014/main" id="{856171BB-B1FA-6BCD-DEFE-579C36CEB809}"/>
                </a:ext>
              </a:extLst>
            </p:cNvPr>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 name="Google Shape;209;p13">
              <a:extLst>
                <a:ext uri="{FF2B5EF4-FFF2-40B4-BE49-F238E27FC236}">
                  <a16:creationId xmlns:a16="http://schemas.microsoft.com/office/drawing/2014/main" id="{1F1628E5-EFDD-AFF2-2874-D57635D0CB4E}"/>
                </a:ext>
              </a:extLst>
            </p:cNvPr>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 name="Google Shape;210;p13">
              <a:extLst>
                <a:ext uri="{FF2B5EF4-FFF2-40B4-BE49-F238E27FC236}">
                  <a16:creationId xmlns:a16="http://schemas.microsoft.com/office/drawing/2014/main" id="{8B52DDC7-CEAB-8839-70C3-D5D34D762580}"/>
                </a:ext>
              </a:extLst>
            </p:cNvPr>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 name="Google Shape;211;p13">
              <a:extLst>
                <a:ext uri="{FF2B5EF4-FFF2-40B4-BE49-F238E27FC236}">
                  <a16:creationId xmlns:a16="http://schemas.microsoft.com/office/drawing/2014/main" id="{EE221C44-FC0A-7819-DC8B-5DB2530A9FE3}"/>
                </a:ext>
              </a:extLst>
            </p:cNvPr>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 name="Google Shape;212;p13">
              <a:extLst>
                <a:ext uri="{FF2B5EF4-FFF2-40B4-BE49-F238E27FC236}">
                  <a16:creationId xmlns:a16="http://schemas.microsoft.com/office/drawing/2014/main" id="{E02D81D3-3F2F-8521-9E62-6EE39C2B45FA}"/>
                </a:ext>
              </a:extLst>
            </p:cNvPr>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 name="Google Shape;213;p13">
              <a:extLst>
                <a:ext uri="{FF2B5EF4-FFF2-40B4-BE49-F238E27FC236}">
                  <a16:creationId xmlns:a16="http://schemas.microsoft.com/office/drawing/2014/main" id="{4B045E65-00A1-1C36-F9F7-F733E9A2EA22}"/>
                </a:ext>
              </a:extLst>
            </p:cNvPr>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 name="Google Shape;214;p13">
              <a:extLst>
                <a:ext uri="{FF2B5EF4-FFF2-40B4-BE49-F238E27FC236}">
                  <a16:creationId xmlns:a16="http://schemas.microsoft.com/office/drawing/2014/main" id="{52A5BFDD-BE52-36CE-18BF-13B512763691}"/>
                </a:ext>
              </a:extLst>
            </p:cNvPr>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 name="Google Shape;215;p13">
              <a:extLst>
                <a:ext uri="{FF2B5EF4-FFF2-40B4-BE49-F238E27FC236}">
                  <a16:creationId xmlns:a16="http://schemas.microsoft.com/office/drawing/2014/main" id="{0E23657A-DE53-CF8A-D77E-24617707147F}"/>
                </a:ext>
              </a:extLst>
            </p:cNvPr>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 name="Google Shape;216;p13">
              <a:extLst>
                <a:ext uri="{FF2B5EF4-FFF2-40B4-BE49-F238E27FC236}">
                  <a16:creationId xmlns:a16="http://schemas.microsoft.com/office/drawing/2014/main" id="{09C4AF32-5FCA-54E8-6E17-35277A09CEBD}"/>
                </a:ext>
              </a:extLst>
            </p:cNvPr>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 name="Google Shape;217;p13">
              <a:extLst>
                <a:ext uri="{FF2B5EF4-FFF2-40B4-BE49-F238E27FC236}">
                  <a16:creationId xmlns:a16="http://schemas.microsoft.com/office/drawing/2014/main" id="{317CDC90-52FB-BB29-EF3B-D97967071163}"/>
                </a:ext>
              </a:extLst>
            </p:cNvPr>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 name="Google Shape;218;p13">
              <a:extLst>
                <a:ext uri="{FF2B5EF4-FFF2-40B4-BE49-F238E27FC236}">
                  <a16:creationId xmlns:a16="http://schemas.microsoft.com/office/drawing/2014/main" id="{DE37C0B5-A366-B675-F3E2-923AC6A7B807}"/>
                </a:ext>
              </a:extLst>
            </p:cNvPr>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 name="Google Shape;219;p13">
              <a:extLst>
                <a:ext uri="{FF2B5EF4-FFF2-40B4-BE49-F238E27FC236}">
                  <a16:creationId xmlns:a16="http://schemas.microsoft.com/office/drawing/2014/main" id="{E22056AA-8B5F-EC6B-229E-D97CBDE7FAEC}"/>
                </a:ext>
              </a:extLst>
            </p:cNvPr>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 name="Google Shape;220;p13">
              <a:extLst>
                <a:ext uri="{FF2B5EF4-FFF2-40B4-BE49-F238E27FC236}">
                  <a16:creationId xmlns:a16="http://schemas.microsoft.com/office/drawing/2014/main" id="{1D09B026-3A40-48B9-DA5D-7E2A45252529}"/>
                </a:ext>
              </a:extLst>
            </p:cNvPr>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 name="Google Shape;221;p13">
              <a:extLst>
                <a:ext uri="{FF2B5EF4-FFF2-40B4-BE49-F238E27FC236}">
                  <a16:creationId xmlns:a16="http://schemas.microsoft.com/office/drawing/2014/main" id="{BD020F79-7CBE-762A-3640-5958DC8516FF}"/>
                </a:ext>
              </a:extLst>
            </p:cNvPr>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 name="Google Shape;222;p13">
              <a:extLst>
                <a:ext uri="{FF2B5EF4-FFF2-40B4-BE49-F238E27FC236}">
                  <a16:creationId xmlns:a16="http://schemas.microsoft.com/office/drawing/2014/main" id="{F2C2E3EB-1079-8EC8-FCE4-01E0D53EFB5C}"/>
                </a:ext>
              </a:extLst>
            </p:cNvPr>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7" name="Google Shape;223;p13">
              <a:extLst>
                <a:ext uri="{FF2B5EF4-FFF2-40B4-BE49-F238E27FC236}">
                  <a16:creationId xmlns:a16="http://schemas.microsoft.com/office/drawing/2014/main" id="{74A5F86C-CCE1-DCEF-8142-AE28624F19CC}"/>
                </a:ext>
              </a:extLst>
            </p:cNvPr>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 name="Google Shape;224;p13">
              <a:extLst>
                <a:ext uri="{FF2B5EF4-FFF2-40B4-BE49-F238E27FC236}">
                  <a16:creationId xmlns:a16="http://schemas.microsoft.com/office/drawing/2014/main" id="{DCD78B41-7996-C43B-EA04-D074BF7505C7}"/>
                </a:ext>
              </a:extLst>
            </p:cNvPr>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 name="Google Shape;225;p13">
              <a:extLst>
                <a:ext uri="{FF2B5EF4-FFF2-40B4-BE49-F238E27FC236}">
                  <a16:creationId xmlns:a16="http://schemas.microsoft.com/office/drawing/2014/main" id="{FC73BCBF-8A3C-6C04-FAC4-C0978077B484}"/>
                </a:ext>
              </a:extLst>
            </p:cNvPr>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 name="Google Shape;226;p13">
              <a:extLst>
                <a:ext uri="{FF2B5EF4-FFF2-40B4-BE49-F238E27FC236}">
                  <a16:creationId xmlns:a16="http://schemas.microsoft.com/office/drawing/2014/main" id="{5B3F4E77-D1E0-CC5B-75F0-BC178993A29C}"/>
                </a:ext>
              </a:extLst>
            </p:cNvPr>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 name="Google Shape;227;p13">
              <a:extLst>
                <a:ext uri="{FF2B5EF4-FFF2-40B4-BE49-F238E27FC236}">
                  <a16:creationId xmlns:a16="http://schemas.microsoft.com/office/drawing/2014/main" id="{B557AC06-211E-3BAC-B2A5-D64063D59327}"/>
                </a:ext>
              </a:extLst>
            </p:cNvPr>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 name="Google Shape;228;p13">
              <a:extLst>
                <a:ext uri="{FF2B5EF4-FFF2-40B4-BE49-F238E27FC236}">
                  <a16:creationId xmlns:a16="http://schemas.microsoft.com/office/drawing/2014/main" id="{31D96DED-61C4-1267-F1B3-2232C8725A7D}"/>
                </a:ext>
              </a:extLst>
            </p:cNvPr>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 name="Google Shape;229;p13">
              <a:extLst>
                <a:ext uri="{FF2B5EF4-FFF2-40B4-BE49-F238E27FC236}">
                  <a16:creationId xmlns:a16="http://schemas.microsoft.com/office/drawing/2014/main" id="{9164497C-5116-0FF0-896E-598D92A176F3}"/>
                </a:ext>
              </a:extLst>
            </p:cNvPr>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4" name="Google Shape;230;p13">
              <a:extLst>
                <a:ext uri="{FF2B5EF4-FFF2-40B4-BE49-F238E27FC236}">
                  <a16:creationId xmlns:a16="http://schemas.microsoft.com/office/drawing/2014/main" id="{BF1C6A93-06CC-256B-6690-E27014D96021}"/>
                </a:ext>
              </a:extLst>
            </p:cNvPr>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5" name="Google Shape;231;p13">
              <a:extLst>
                <a:ext uri="{FF2B5EF4-FFF2-40B4-BE49-F238E27FC236}">
                  <a16:creationId xmlns:a16="http://schemas.microsoft.com/office/drawing/2014/main" id="{FB94CAF8-A3DB-1D23-E191-FD9E9717CD0C}"/>
                </a:ext>
              </a:extLst>
            </p:cNvPr>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6" name="Google Shape;232;p13">
              <a:extLst>
                <a:ext uri="{FF2B5EF4-FFF2-40B4-BE49-F238E27FC236}">
                  <a16:creationId xmlns:a16="http://schemas.microsoft.com/office/drawing/2014/main" id="{ECED910D-EAA8-2E9E-CCB4-1A8B6BB02050}"/>
                </a:ext>
              </a:extLst>
            </p:cNvPr>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7" name="Google Shape;233;p13">
              <a:extLst>
                <a:ext uri="{FF2B5EF4-FFF2-40B4-BE49-F238E27FC236}">
                  <a16:creationId xmlns:a16="http://schemas.microsoft.com/office/drawing/2014/main" id="{FDF77F21-D864-87C2-CE2F-3F59F144EEEC}"/>
                </a:ext>
              </a:extLst>
            </p:cNvPr>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8" name="Google Shape;234;p13">
              <a:extLst>
                <a:ext uri="{FF2B5EF4-FFF2-40B4-BE49-F238E27FC236}">
                  <a16:creationId xmlns:a16="http://schemas.microsoft.com/office/drawing/2014/main" id="{EC9BE898-6A25-4C8C-9D58-6836703A909D}"/>
                </a:ext>
              </a:extLst>
            </p:cNvPr>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9" name="Google Shape;235;p13">
              <a:extLst>
                <a:ext uri="{FF2B5EF4-FFF2-40B4-BE49-F238E27FC236}">
                  <a16:creationId xmlns:a16="http://schemas.microsoft.com/office/drawing/2014/main" id="{9713A7C2-A666-69FB-86DF-FC1F70476ED8}"/>
                </a:ext>
              </a:extLst>
            </p:cNvPr>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0" name="Google Shape;236;p13">
              <a:extLst>
                <a:ext uri="{FF2B5EF4-FFF2-40B4-BE49-F238E27FC236}">
                  <a16:creationId xmlns:a16="http://schemas.microsoft.com/office/drawing/2014/main" id="{5D12100E-7C7A-89AF-E81A-9ED738E4042A}"/>
                </a:ext>
              </a:extLst>
            </p:cNvPr>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1" name="Google Shape;237;p13">
              <a:extLst>
                <a:ext uri="{FF2B5EF4-FFF2-40B4-BE49-F238E27FC236}">
                  <a16:creationId xmlns:a16="http://schemas.microsoft.com/office/drawing/2014/main" id="{71A890BB-232B-5A91-8592-DA08D5A26CB2}"/>
                </a:ext>
              </a:extLst>
            </p:cNvPr>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 name="Google Shape;238;p13">
              <a:extLst>
                <a:ext uri="{FF2B5EF4-FFF2-40B4-BE49-F238E27FC236}">
                  <a16:creationId xmlns:a16="http://schemas.microsoft.com/office/drawing/2014/main" id="{F7B41DBF-4635-1D3A-52D7-76D931F7C694}"/>
                </a:ext>
              </a:extLst>
            </p:cNvPr>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 name="Google Shape;239;p13">
              <a:extLst>
                <a:ext uri="{FF2B5EF4-FFF2-40B4-BE49-F238E27FC236}">
                  <a16:creationId xmlns:a16="http://schemas.microsoft.com/office/drawing/2014/main" id="{C1B55535-A690-B40B-B192-8FABA49713CA}"/>
                </a:ext>
              </a:extLst>
            </p:cNvPr>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 name="Google Shape;240;p13">
              <a:extLst>
                <a:ext uri="{FF2B5EF4-FFF2-40B4-BE49-F238E27FC236}">
                  <a16:creationId xmlns:a16="http://schemas.microsoft.com/office/drawing/2014/main" id="{B36AEB64-A299-AD51-368B-8DAA8614B778}"/>
                </a:ext>
              </a:extLst>
            </p:cNvPr>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 name="Google Shape;241;p13">
              <a:extLst>
                <a:ext uri="{FF2B5EF4-FFF2-40B4-BE49-F238E27FC236}">
                  <a16:creationId xmlns:a16="http://schemas.microsoft.com/office/drawing/2014/main" id="{5CFA10C2-16CA-FA5E-0A41-269B25633F63}"/>
                </a:ext>
              </a:extLst>
            </p:cNvPr>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 name="Google Shape;242;p13">
              <a:extLst>
                <a:ext uri="{FF2B5EF4-FFF2-40B4-BE49-F238E27FC236}">
                  <a16:creationId xmlns:a16="http://schemas.microsoft.com/office/drawing/2014/main" id="{0FF4C610-724B-FA63-4AEB-513E317346F9}"/>
                </a:ext>
              </a:extLst>
            </p:cNvPr>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 name="Google Shape;243;p13">
              <a:extLst>
                <a:ext uri="{FF2B5EF4-FFF2-40B4-BE49-F238E27FC236}">
                  <a16:creationId xmlns:a16="http://schemas.microsoft.com/office/drawing/2014/main" id="{E3BFD40E-8ABB-79FE-56DB-3E1C2699A195}"/>
                </a:ext>
              </a:extLst>
            </p:cNvPr>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8" name="Google Shape;244;p13">
              <a:extLst>
                <a:ext uri="{FF2B5EF4-FFF2-40B4-BE49-F238E27FC236}">
                  <a16:creationId xmlns:a16="http://schemas.microsoft.com/office/drawing/2014/main" id="{55D6EB0B-82D8-710C-29A6-FE0626CA1CDA}"/>
                </a:ext>
              </a:extLst>
            </p:cNvPr>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 name="Google Shape;245;p13">
              <a:extLst>
                <a:ext uri="{FF2B5EF4-FFF2-40B4-BE49-F238E27FC236}">
                  <a16:creationId xmlns:a16="http://schemas.microsoft.com/office/drawing/2014/main" id="{7D9E51FA-DC3B-654A-47A2-9081869A4842}"/>
                </a:ext>
              </a:extLst>
            </p:cNvPr>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 name="Google Shape;246;p13">
              <a:extLst>
                <a:ext uri="{FF2B5EF4-FFF2-40B4-BE49-F238E27FC236}">
                  <a16:creationId xmlns:a16="http://schemas.microsoft.com/office/drawing/2014/main" id="{E7219190-5DFB-4E2D-CF4E-78520F2C04EC}"/>
                </a:ext>
              </a:extLst>
            </p:cNvPr>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 name="Google Shape;247;p13">
              <a:extLst>
                <a:ext uri="{FF2B5EF4-FFF2-40B4-BE49-F238E27FC236}">
                  <a16:creationId xmlns:a16="http://schemas.microsoft.com/office/drawing/2014/main" id="{9EFC2BB1-4746-AB23-DF3E-617D911AC857}"/>
                </a:ext>
              </a:extLst>
            </p:cNvPr>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 name="Google Shape;248;p13">
              <a:extLst>
                <a:ext uri="{FF2B5EF4-FFF2-40B4-BE49-F238E27FC236}">
                  <a16:creationId xmlns:a16="http://schemas.microsoft.com/office/drawing/2014/main" id="{A0C2CE44-F19E-A171-D20D-8ED2FB1B27B6}"/>
                </a:ext>
              </a:extLst>
            </p:cNvPr>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 name="Google Shape;249;p13">
              <a:extLst>
                <a:ext uri="{FF2B5EF4-FFF2-40B4-BE49-F238E27FC236}">
                  <a16:creationId xmlns:a16="http://schemas.microsoft.com/office/drawing/2014/main" id="{7091E5AE-3C20-D3AB-7357-0F479035A03B}"/>
                </a:ext>
              </a:extLst>
            </p:cNvPr>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 name="Google Shape;250;p13">
              <a:extLst>
                <a:ext uri="{FF2B5EF4-FFF2-40B4-BE49-F238E27FC236}">
                  <a16:creationId xmlns:a16="http://schemas.microsoft.com/office/drawing/2014/main" id="{20945074-57F4-21D3-814B-8EAD9B132D80}"/>
                </a:ext>
              </a:extLst>
            </p:cNvPr>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5" name="Google Shape;251;p13">
              <a:extLst>
                <a:ext uri="{FF2B5EF4-FFF2-40B4-BE49-F238E27FC236}">
                  <a16:creationId xmlns:a16="http://schemas.microsoft.com/office/drawing/2014/main" id="{92039C21-D08B-EBA9-FC1B-80E71800DD92}"/>
                </a:ext>
              </a:extLst>
            </p:cNvPr>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 name="Google Shape;252;p13">
              <a:extLst>
                <a:ext uri="{FF2B5EF4-FFF2-40B4-BE49-F238E27FC236}">
                  <a16:creationId xmlns:a16="http://schemas.microsoft.com/office/drawing/2014/main" id="{5E9BABC2-84E2-3C97-C1BE-521DC5D95770}"/>
                </a:ext>
              </a:extLst>
            </p:cNvPr>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 name="Google Shape;253;p13">
              <a:extLst>
                <a:ext uri="{FF2B5EF4-FFF2-40B4-BE49-F238E27FC236}">
                  <a16:creationId xmlns:a16="http://schemas.microsoft.com/office/drawing/2014/main" id="{470547DA-898C-4DA7-D0E9-6FEA6ED43409}"/>
                </a:ext>
              </a:extLst>
            </p:cNvPr>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 name="Google Shape;254;p13">
              <a:extLst>
                <a:ext uri="{FF2B5EF4-FFF2-40B4-BE49-F238E27FC236}">
                  <a16:creationId xmlns:a16="http://schemas.microsoft.com/office/drawing/2014/main" id="{7BD92A29-436F-70C8-D33D-F34B3C8580DF}"/>
                </a:ext>
              </a:extLst>
            </p:cNvPr>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 name="Google Shape;255;p13">
              <a:extLst>
                <a:ext uri="{FF2B5EF4-FFF2-40B4-BE49-F238E27FC236}">
                  <a16:creationId xmlns:a16="http://schemas.microsoft.com/office/drawing/2014/main" id="{85C6DBCA-393C-F191-1770-99E3E3120A5D}"/>
                </a:ext>
              </a:extLst>
            </p:cNvPr>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 name="Google Shape;256;p13">
              <a:extLst>
                <a:ext uri="{FF2B5EF4-FFF2-40B4-BE49-F238E27FC236}">
                  <a16:creationId xmlns:a16="http://schemas.microsoft.com/office/drawing/2014/main" id="{AE1974BB-142D-FC55-CFDF-A4D57AA0AAAD}"/>
                </a:ext>
              </a:extLst>
            </p:cNvPr>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 name="Google Shape;257;p13">
              <a:extLst>
                <a:ext uri="{FF2B5EF4-FFF2-40B4-BE49-F238E27FC236}">
                  <a16:creationId xmlns:a16="http://schemas.microsoft.com/office/drawing/2014/main" id="{699D4E17-04FC-347C-43D6-F3455FCABAF0}"/>
                </a:ext>
              </a:extLst>
            </p:cNvPr>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2" name="Google Shape;258;p13">
              <a:extLst>
                <a:ext uri="{FF2B5EF4-FFF2-40B4-BE49-F238E27FC236}">
                  <a16:creationId xmlns:a16="http://schemas.microsoft.com/office/drawing/2014/main" id="{4A6B6E9C-40DF-6069-BEB6-ADB664CA63D1}"/>
                </a:ext>
              </a:extLst>
            </p:cNvPr>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 name="Google Shape;259;p13">
              <a:extLst>
                <a:ext uri="{FF2B5EF4-FFF2-40B4-BE49-F238E27FC236}">
                  <a16:creationId xmlns:a16="http://schemas.microsoft.com/office/drawing/2014/main" id="{9C683B10-6E2F-501C-600D-F617B7F531E9}"/>
                </a:ext>
              </a:extLst>
            </p:cNvPr>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 name="Google Shape;260;p13">
              <a:extLst>
                <a:ext uri="{FF2B5EF4-FFF2-40B4-BE49-F238E27FC236}">
                  <a16:creationId xmlns:a16="http://schemas.microsoft.com/office/drawing/2014/main" id="{31CF699F-766D-7A0C-8F2D-592489E7717D}"/>
                </a:ext>
              </a:extLst>
            </p:cNvPr>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 name="Google Shape;261;p13">
              <a:extLst>
                <a:ext uri="{FF2B5EF4-FFF2-40B4-BE49-F238E27FC236}">
                  <a16:creationId xmlns:a16="http://schemas.microsoft.com/office/drawing/2014/main" id="{682B0207-9A0F-48BE-986E-738D6746A260}"/>
                </a:ext>
              </a:extLst>
            </p:cNvPr>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 name="Google Shape;262;p13">
              <a:extLst>
                <a:ext uri="{FF2B5EF4-FFF2-40B4-BE49-F238E27FC236}">
                  <a16:creationId xmlns:a16="http://schemas.microsoft.com/office/drawing/2014/main" id="{1E0B4D40-26A5-F8BD-F75E-0A465BDA17A8}"/>
                </a:ext>
              </a:extLst>
            </p:cNvPr>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 name="Google Shape;263;p13">
              <a:extLst>
                <a:ext uri="{FF2B5EF4-FFF2-40B4-BE49-F238E27FC236}">
                  <a16:creationId xmlns:a16="http://schemas.microsoft.com/office/drawing/2014/main" id="{6D2CA43F-576D-0B26-CC1A-C74632BC4E28}"/>
                </a:ext>
              </a:extLst>
            </p:cNvPr>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 name="Google Shape;264;p13">
              <a:extLst>
                <a:ext uri="{FF2B5EF4-FFF2-40B4-BE49-F238E27FC236}">
                  <a16:creationId xmlns:a16="http://schemas.microsoft.com/office/drawing/2014/main" id="{0CCA93D3-E924-5E15-95EA-C37ADA3C1817}"/>
                </a:ext>
              </a:extLst>
            </p:cNvPr>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9" name="Google Shape;265;p13">
              <a:extLst>
                <a:ext uri="{FF2B5EF4-FFF2-40B4-BE49-F238E27FC236}">
                  <a16:creationId xmlns:a16="http://schemas.microsoft.com/office/drawing/2014/main" id="{3D2B7528-451F-A5EA-9C7F-A6B93582EC80}"/>
                </a:ext>
              </a:extLst>
            </p:cNvPr>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 name="Google Shape;266;p13">
              <a:extLst>
                <a:ext uri="{FF2B5EF4-FFF2-40B4-BE49-F238E27FC236}">
                  <a16:creationId xmlns:a16="http://schemas.microsoft.com/office/drawing/2014/main" id="{32A8181B-D285-BB30-8F8A-FC0D93B3CA6E}"/>
                </a:ext>
              </a:extLst>
            </p:cNvPr>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Tree>
    <p:extLst>
      <p:ext uri="{BB962C8B-B14F-4D97-AF65-F5344CB8AC3E}">
        <p14:creationId xmlns:p14="http://schemas.microsoft.com/office/powerpoint/2010/main" val="3338846989"/>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90052221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563541646"/>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86665808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9361" y="0"/>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962958931"/>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60825811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0693401"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46999829"/>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75557013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0693400" cy="756285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4110046608"/>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16932966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52277044"/>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03706456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580148656"/>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5553509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98388068"/>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9985702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753632018"/>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A259C28-5C37-2EA8-6E8D-8F6C135A6C1B}"/>
              </a:ext>
            </a:extLst>
          </p:cNvPr>
          <p:cNvGraphicFramePr>
            <a:graphicFrameLocks noChangeAspect="1"/>
          </p:cNvGraphicFramePr>
          <p:nvPr userDrawn="1">
            <p:custDataLst>
              <p:tags r:id="rId1"/>
            </p:custDataLst>
            <p:extLst>
              <p:ext uri="{D42A27DB-BD31-4B8C-83A1-F6EECF244321}">
                <p14:modId xmlns:p14="http://schemas.microsoft.com/office/powerpoint/2010/main" val="338530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0" imgH="320" progId="TCLayout.ActiveDocument.1">
                  <p:embed/>
                </p:oleObj>
              </mc:Choice>
              <mc:Fallback>
                <p:oleObj name="think-cell Slide" r:id="rId3" imgW="320" imgH="320" progId="TCLayout.ActiveDocument.1">
                  <p:embed/>
                  <p:pic>
                    <p:nvPicPr>
                      <p:cNvPr id="5" name="think-cell data - do not delete" hidden="1">
                        <a:extLst>
                          <a:ext uri="{FF2B5EF4-FFF2-40B4-BE49-F238E27FC236}">
                            <a16:creationId xmlns:a16="http://schemas.microsoft.com/office/drawing/2014/main" id="{DA259C28-5C37-2EA8-6E8D-8F6C135A6C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3550" b="1" i="0">
                <a:solidFill>
                  <a:srgbClr val="DA291C"/>
                </a:solidFill>
                <a:latin typeface="Slate Pro" panose="02000506040000020004" pitchFamily="2" charset="0"/>
                <a:cs typeface="Arial"/>
                <a:sym typeface="Slate Pro" panose="02000506040000020004" pitchFamily="2" charset="0"/>
              </a:defRPr>
            </a:lvl1pPr>
          </a:lstStyle>
          <a:p>
            <a:endParaRPr dirty="0"/>
          </a:p>
        </p:txBody>
      </p:sp>
      <p:sp>
        <p:nvSpPr>
          <p:cNvPr id="3" name="Holder 3"/>
          <p:cNvSpPr>
            <a:spLocks noGrp="1"/>
          </p:cNvSpPr>
          <p:nvPr>
            <p:ph sz="half" idx="2"/>
          </p:nvPr>
        </p:nvSpPr>
        <p:spPr>
          <a:xfrm>
            <a:off x="534671" y="1739457"/>
            <a:ext cx="4651629" cy="276999"/>
          </a:xfrm>
          <a:prstGeom prst="rect">
            <a:avLst/>
          </a:prstGeom>
        </p:spPr>
        <p:txBody>
          <a:bodyPr wrap="square" lIns="0" tIns="0" rIns="0" bIns="0">
            <a:spAutoFit/>
          </a:bodyPr>
          <a:lstStyle>
            <a:lvl1pPr>
              <a:defRPr>
                <a:latin typeface="Slate Pro" panose="02000506040000020004" pitchFamily="2" charset="0"/>
                <a:sym typeface="Slate Pro" panose="02000506040000020004" pitchFamily="2" charset="0"/>
              </a:defRPr>
            </a:lvl1pPr>
          </a:lstStyle>
          <a:p>
            <a:endParaRPr/>
          </a:p>
        </p:txBody>
      </p:sp>
      <p:sp>
        <p:nvSpPr>
          <p:cNvPr id="4" name="Holder 4"/>
          <p:cNvSpPr>
            <a:spLocks noGrp="1"/>
          </p:cNvSpPr>
          <p:nvPr>
            <p:ph sz="half" idx="3"/>
          </p:nvPr>
        </p:nvSpPr>
        <p:spPr>
          <a:xfrm>
            <a:off x="5507102" y="1739457"/>
            <a:ext cx="4651629" cy="276999"/>
          </a:xfrm>
          <a:prstGeom prst="rect">
            <a:avLst/>
          </a:prstGeom>
        </p:spPr>
        <p:txBody>
          <a:bodyPr wrap="square" lIns="0" tIns="0" rIns="0" bIns="0">
            <a:spAutoFit/>
          </a:bodyPr>
          <a:lstStyle>
            <a:lvl1pPr>
              <a:defRPr>
                <a:latin typeface="Slate Pro" panose="02000506040000020004" pitchFamily="2" charset="0"/>
                <a:sym typeface="Slate Pro" panose="02000506040000020004" pitchFamily="2" charset="0"/>
              </a:defRPr>
            </a:lvl1pPr>
          </a:lstStyle>
          <a:p>
            <a:endParaRPr/>
          </a:p>
        </p:txBody>
      </p:sp>
      <p:sp>
        <p:nvSpPr>
          <p:cNvPr id="7" name="Holder 7"/>
          <p:cNvSpPr>
            <a:spLocks noGrp="1"/>
          </p:cNvSpPr>
          <p:nvPr>
            <p:ph type="sldNum" sz="quarter" idx="7"/>
          </p:nvPr>
        </p:nvSpPr>
        <p:spPr/>
        <p:txBody>
          <a:bodyPr lIns="0" tIns="0" rIns="0" bIns="0"/>
          <a:lstStyle>
            <a:lvl1pPr>
              <a:defRPr sz="1100" b="1" i="0">
                <a:solidFill>
                  <a:schemeClr val="bg1"/>
                </a:solidFill>
                <a:latin typeface="Slate Pro" panose="02000506040000020004" pitchFamily="2" charset="0"/>
                <a:cs typeface="Arial"/>
                <a:sym typeface="Slate Pro" panose="02000506040000020004" pitchFamily="2" charset="0"/>
              </a:defRPr>
            </a:lvl1pPr>
          </a:lstStyle>
          <a:p>
            <a:pPr marL="38100">
              <a:lnSpc>
                <a:spcPts val="1115"/>
              </a:lnSpc>
            </a:pPr>
            <a:fld id="{81D60167-4931-47E6-BA6A-407CBD079E47}" type="slidenum">
              <a:rPr lang="en-US" spc="-25" smtClean="0"/>
              <a:pPr marL="38100">
                <a:lnSpc>
                  <a:spcPts val="1115"/>
                </a:lnSpc>
              </a:pPr>
              <a:t>‹#›</a:t>
            </a:fld>
            <a:endParaRPr lang="en-US" spc="-25"/>
          </a:p>
        </p:txBody>
      </p:sp>
      <p:sp>
        <p:nvSpPr>
          <p:cNvPr id="8" name="Holder 4">
            <a:extLst>
              <a:ext uri="{FF2B5EF4-FFF2-40B4-BE49-F238E27FC236}">
                <a16:creationId xmlns:a16="http://schemas.microsoft.com/office/drawing/2014/main" id="{B2C83FB7-DC5A-E882-0F59-2115A4B26646}"/>
              </a:ext>
            </a:extLst>
          </p:cNvPr>
          <p:cNvSpPr>
            <a:spLocks noGrp="1"/>
          </p:cNvSpPr>
          <p:nvPr>
            <p:ph type="ftr" sz="quarter" idx="5"/>
          </p:nvPr>
        </p:nvSpPr>
        <p:spPr>
          <a:xfrm>
            <a:off x="7167026" y="7274483"/>
            <a:ext cx="2647950" cy="115416"/>
          </a:xfrm>
          <a:prstGeom prst="rect">
            <a:avLst/>
          </a:prstGeom>
        </p:spPr>
        <p:txBody>
          <a:bodyPr lIns="0" tIns="0" rIns="0" bIns="0"/>
          <a:lstStyle>
            <a:lvl1pPr algn="r">
              <a:defRPr sz="900" b="0" i="0">
                <a:solidFill>
                  <a:schemeClr val="bg1"/>
                </a:solidFill>
                <a:latin typeface="Avenir Next LT Pro" panose="020B0504020202020204"/>
                <a:cs typeface="Arial"/>
              </a:defRPr>
            </a:lvl1pPr>
          </a:lstStyle>
          <a:p>
            <a:pPr marL="12700">
              <a:lnSpc>
                <a:spcPts val="930"/>
              </a:lnSpc>
            </a:pPr>
            <a:r>
              <a:rPr lang="en-US">
                <a:latin typeface="Slate Pro" panose="02000506040000020004" pitchFamily="2" charset="0"/>
              </a:rPr>
              <a:t>ACME </a:t>
            </a:r>
            <a:r>
              <a:rPr lang="en-US" spc="-40">
                <a:latin typeface="Slate Pro" panose="02000506040000020004" pitchFamily="2" charset="0"/>
              </a:rPr>
              <a:t>Partner PROGRAM GUIDE</a:t>
            </a:r>
            <a:endParaRPr lang="en-US" spc="-10">
              <a:latin typeface="Slate Pro" panose="02000506040000020004" pitchFamily="2"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11813470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580979" y="2410781"/>
            <a:ext cx="1187692" cy="3011135"/>
          </a:xfrm>
        </p:spPr>
        <p:txBody>
          <a:bodyPr>
            <a:normAutofit/>
          </a:bodyPr>
          <a:lstStyle>
            <a:lvl1pPr marL="0" indent="0" algn="l" defTabSz="802020" rtl="0" eaLnBrk="1" latinLnBrk="0" hangingPunct="1">
              <a:lnSpc>
                <a:spcPct val="90000"/>
              </a:lnSpc>
              <a:spcBef>
                <a:spcPts val="877"/>
              </a:spcBef>
              <a:buFont typeface="Arial" panose="020B0604020202020204" pitchFamily="34" charset="0"/>
              <a:buNone/>
              <a:defRPr lang="en-US" sz="4736"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4736"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4736"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4736"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403"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2815158" y="2571045"/>
            <a:ext cx="6022322" cy="626194"/>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4pPr marL="405187"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2815158" y="3539841"/>
            <a:ext cx="6022322" cy="626194"/>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4pPr marL="405187"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2815158" y="4515101"/>
            <a:ext cx="6022322" cy="626194"/>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4pPr marL="405187"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588913" y="1647217"/>
            <a:ext cx="9623307" cy="609230"/>
          </a:xfrm>
        </p:spPr>
        <p:txBody>
          <a:bodyPr>
            <a:noAutofit/>
          </a:bodyPr>
          <a:lstStyle>
            <a:lvl1pPr>
              <a:defRPr sz="1930" b="1">
                <a:latin typeface="Slate Pro" panose="02000506040000020004" pitchFamily="2" charset="0"/>
                <a:sym typeface="Slate Pro" panose="02000506040000020004" pitchFamily="2" charset="0"/>
              </a:defRPr>
            </a:lvl1pPr>
            <a:lvl5pPr marL="598730" indent="0">
              <a:buNone/>
              <a:defRPr/>
            </a:lvl5pPr>
          </a:lstStyle>
          <a:p>
            <a:pPr lvl="0"/>
            <a:r>
              <a:rPr lang="en-US" dirty="0"/>
              <a:t>For Our Discussion Today</a:t>
            </a:r>
          </a:p>
        </p:txBody>
      </p:sp>
    </p:spTree>
    <p:extLst>
      <p:ext uri="{BB962C8B-B14F-4D97-AF65-F5344CB8AC3E}">
        <p14:creationId xmlns:p14="http://schemas.microsoft.com/office/powerpoint/2010/main" val="1791591711"/>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62234545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153956" y="2794054"/>
            <a:ext cx="6411903" cy="965163"/>
          </a:xfrm>
        </p:spPr>
        <p:txBody>
          <a:bodyPr tIns="91440" bIns="91440" anchor="ctr">
            <a:noAutofit/>
          </a:bodyPr>
          <a:lstStyle>
            <a:lvl1pPr>
              <a:defRPr sz="3859"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534671" y="2794054"/>
            <a:ext cx="763815" cy="965163"/>
          </a:xfrm>
        </p:spPr>
        <p:txBody>
          <a:bodyPr tIns="91440" bIns="91440" anchor="ctr">
            <a:normAutofit/>
          </a:bodyPr>
          <a:lstStyle>
            <a:lvl1pPr algn="ctr">
              <a:defRPr sz="3859"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1528277195"/>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130799596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153956" y="2794054"/>
            <a:ext cx="6411903" cy="965163"/>
          </a:xfrm>
        </p:spPr>
        <p:txBody>
          <a:bodyPr tIns="91440" bIns="91440" anchor="ctr">
            <a:noAutofit/>
          </a:bodyPr>
          <a:lstStyle>
            <a:lvl1pPr>
              <a:defRPr sz="3859"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534671" y="2794054"/>
            <a:ext cx="763815" cy="965163"/>
          </a:xfrm>
        </p:spPr>
        <p:txBody>
          <a:bodyPr tIns="91440" bIns="91440" anchor="ctr">
            <a:normAutofit/>
          </a:bodyPr>
          <a:lstStyle>
            <a:lvl1pPr algn="ctr">
              <a:defRPr sz="3859"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484450289"/>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411934452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153956" y="2794054"/>
            <a:ext cx="6411903" cy="965163"/>
          </a:xfrm>
        </p:spPr>
        <p:txBody>
          <a:bodyPr tIns="91440" bIns="91440" anchor="ctr">
            <a:noAutofit/>
          </a:bodyPr>
          <a:lstStyle>
            <a:lvl1pPr>
              <a:defRPr sz="3859"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534671" y="2794054"/>
            <a:ext cx="763815" cy="965163"/>
          </a:xfrm>
        </p:spPr>
        <p:txBody>
          <a:bodyPr tIns="91440" bIns="91440" anchor="ctr">
            <a:normAutofit/>
          </a:bodyPr>
          <a:lstStyle>
            <a:lvl1pPr algn="ctr">
              <a:defRPr sz="3859"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2727004377"/>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77527341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6915065" y="4"/>
            <a:ext cx="3778336" cy="756284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389201" y="1773358"/>
            <a:ext cx="2830064" cy="4033520"/>
          </a:xfrm>
        </p:spPr>
        <p:txBody>
          <a:bodyPr>
            <a:normAutofit/>
          </a:bodyPr>
          <a:lstStyle>
            <a:lvl1pPr>
              <a:defRPr sz="1228">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69" y="1773358"/>
            <a:ext cx="5596214" cy="3618613"/>
          </a:xfrm>
        </p:spPr>
        <p:txBody>
          <a:bodyPr>
            <a:normAutofit/>
          </a:bodyPr>
          <a:lstStyle>
            <a:lvl1pPr>
              <a:defRPr sz="3508"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3889" y="7058816"/>
            <a:ext cx="543889" cy="289495"/>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bg1"/>
                </a:solidFill>
                <a:latin typeface="Slate Pro" panose="02000506040000020004" pitchFamily="2" charset="0"/>
                <a:sym typeface="Slate Pro" panose="02000506040000020004" pitchFamily="2" charset="0"/>
              </a:rPr>
              <a:pPr algn="r"/>
              <a:t>‹#›</a:t>
            </a:fld>
            <a:endParaRPr lang="en-US" sz="965"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952797770"/>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56929343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6915065" y="4"/>
            <a:ext cx="3778336" cy="75628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389201" y="1773358"/>
            <a:ext cx="2830064" cy="4033520"/>
          </a:xfrm>
        </p:spPr>
        <p:txBody>
          <a:bodyPr>
            <a:normAutofit/>
          </a:bodyPr>
          <a:lstStyle>
            <a:lvl1pPr>
              <a:defRPr sz="1228">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69" y="1773358"/>
            <a:ext cx="5596214" cy="3618613"/>
          </a:xfrm>
        </p:spPr>
        <p:txBody>
          <a:bodyPr>
            <a:normAutofit/>
          </a:bodyPr>
          <a:lstStyle>
            <a:lvl1pPr>
              <a:defRPr sz="3508"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3889" y="7058816"/>
            <a:ext cx="543889" cy="289495"/>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bg1"/>
                </a:solidFill>
                <a:latin typeface="Slate Pro" panose="02000506040000020004" pitchFamily="2" charset="0"/>
                <a:sym typeface="Slate Pro" panose="02000506040000020004" pitchFamily="2" charset="0"/>
              </a:rPr>
              <a:pPr algn="r"/>
              <a:t>‹#›</a:t>
            </a:fld>
            <a:endParaRPr lang="en-US" sz="965"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478207598"/>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98618485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6338" y="0"/>
            <a:ext cx="6147221" cy="756285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6959928" y="1773358"/>
            <a:ext cx="3198803" cy="4033520"/>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70" y="1773358"/>
            <a:ext cx="5024860" cy="3618613"/>
          </a:xfrm>
        </p:spPr>
        <p:txBody>
          <a:bodyPr>
            <a:normAutofit/>
          </a:bodyPr>
          <a:lstStyle>
            <a:lvl1pPr>
              <a:defRPr sz="3508"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tx1"/>
                </a:solidFill>
                <a:latin typeface="Slate Pro" panose="02000506040000020004" pitchFamily="2" charset="0"/>
                <a:sym typeface="Slate Pro" panose="02000506040000020004" pitchFamily="2" charset="0"/>
              </a:rPr>
              <a:pPr algn="r"/>
              <a:t>‹#›</a:t>
            </a:fld>
            <a:endParaRPr lang="en-US" sz="965"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543888" y="7058816"/>
            <a:ext cx="540504" cy="289495"/>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87041350"/>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07035031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6338" y="0"/>
            <a:ext cx="6147221" cy="7562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6959928" y="1773358"/>
            <a:ext cx="3198803" cy="4033520"/>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70" y="1773358"/>
            <a:ext cx="5024860" cy="3618613"/>
          </a:xfrm>
        </p:spPr>
        <p:txBody>
          <a:bodyPr>
            <a:normAutofit/>
          </a:bodyPr>
          <a:lstStyle>
            <a:lvl1pPr>
              <a:defRPr sz="3508"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543888" y="7054203"/>
            <a:ext cx="540504" cy="289495"/>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tx1"/>
                </a:solidFill>
                <a:latin typeface="Slate Pro" panose="02000506040000020004" pitchFamily="2" charset="0"/>
                <a:sym typeface="Slate Pro" panose="02000506040000020004" pitchFamily="2" charset="0"/>
              </a:rPr>
              <a:pPr algn="r"/>
              <a:t>‹#›</a:t>
            </a:fld>
            <a:endParaRPr lang="en-US" sz="965"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399639134"/>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0394007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752715" y="4"/>
            <a:ext cx="2940685" cy="75628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195201" y="1773358"/>
            <a:ext cx="1963530" cy="4033520"/>
          </a:xfrm>
        </p:spPr>
        <p:txBody>
          <a:bodyPr>
            <a:normAutofit/>
          </a:bodyPr>
          <a:lstStyle>
            <a:lvl1pPr>
              <a:defRPr sz="1228">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69" y="1773358"/>
            <a:ext cx="6406823" cy="3618613"/>
          </a:xfrm>
        </p:spPr>
        <p:txBody>
          <a:bodyPr>
            <a:normAutofit/>
          </a:bodyPr>
          <a:lstStyle>
            <a:lvl1pPr>
              <a:defRPr sz="3508"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3889" y="7054203"/>
            <a:ext cx="543889" cy="289495"/>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9882616" y="7129762"/>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bg1"/>
                </a:solidFill>
                <a:latin typeface="Slate Pro" panose="02000506040000020004" pitchFamily="2" charset="0"/>
                <a:sym typeface="Slate Pro" panose="02000506040000020004" pitchFamily="2" charset="0"/>
              </a:rPr>
              <a:pPr algn="r"/>
              <a:t>‹#›</a:t>
            </a:fld>
            <a:endParaRPr lang="en-US" sz="965"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543888" y="7398762"/>
            <a:ext cx="4135586" cy="80920"/>
          </a:xfrm>
          <a:prstGeom prst="rect">
            <a:avLst/>
          </a:prstGeom>
          <a:noFill/>
        </p:spPr>
        <p:txBody>
          <a:bodyPr wrap="square" lIns="0" tIns="0" rIns="0" bIns="0" rtlCol="0">
            <a:spAutoFit/>
          </a:bodyPr>
          <a:lstStyle/>
          <a:p>
            <a:pPr algn="l"/>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402320618"/>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788FC62-B989-898B-758D-46B15026D24C}"/>
              </a:ext>
            </a:extLst>
          </p:cNvPr>
          <p:cNvGraphicFramePr>
            <a:graphicFrameLocks noChangeAspect="1"/>
          </p:cNvGraphicFramePr>
          <p:nvPr userDrawn="1">
            <p:custDataLst>
              <p:tags r:id="rId1"/>
            </p:custDataLst>
            <p:extLst>
              <p:ext uri="{D42A27DB-BD31-4B8C-83A1-F6EECF244321}">
                <p14:modId xmlns:p14="http://schemas.microsoft.com/office/powerpoint/2010/main" val="144342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Google Shape;21;p50"/>
          <p:cNvSpPr txBox="1">
            <a:spLocks noGrp="1"/>
          </p:cNvSpPr>
          <p:nvPr>
            <p:ph type="title"/>
          </p:nvPr>
        </p:nvSpPr>
        <p:spPr>
          <a:xfrm>
            <a:off x="863419" y="2406943"/>
            <a:ext cx="9338397" cy="2065393"/>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3859" b="1" i="0" u="none" strike="noStrike" cap="none">
                <a:solidFill>
                  <a:schemeClr val="dk1"/>
                </a:solidFill>
                <a:latin typeface="Slate Pro" panose="02000506040000020004" pitchFamily="2" charset="0"/>
                <a:ea typeface="Slate Pro" panose="02000506040000020004" pitchFamily="2" charset="0"/>
                <a:cs typeface="Arial"/>
                <a:sym typeface="Slate Pro" panose="02000506040000020004" pitchFamily="2" charset="0"/>
              </a:defRPr>
            </a:lvl1pPr>
            <a:lvl2pPr lvl="1">
              <a:spcBef>
                <a:spcPts val="0"/>
              </a:spcBef>
              <a:spcAft>
                <a:spcPts val="0"/>
              </a:spcAft>
              <a:buSzPts val="1400"/>
              <a:buNone/>
              <a:defRPr sz="1579"/>
            </a:lvl2pPr>
            <a:lvl3pPr lvl="2">
              <a:spcBef>
                <a:spcPts val="0"/>
              </a:spcBef>
              <a:spcAft>
                <a:spcPts val="0"/>
              </a:spcAft>
              <a:buSzPts val="1400"/>
              <a:buNone/>
              <a:defRPr sz="1579"/>
            </a:lvl3pPr>
            <a:lvl4pPr lvl="3">
              <a:spcBef>
                <a:spcPts val="0"/>
              </a:spcBef>
              <a:spcAft>
                <a:spcPts val="0"/>
              </a:spcAft>
              <a:buSzPts val="1400"/>
              <a:buNone/>
              <a:defRPr sz="1579"/>
            </a:lvl4pPr>
            <a:lvl5pPr lvl="4">
              <a:spcBef>
                <a:spcPts val="0"/>
              </a:spcBef>
              <a:spcAft>
                <a:spcPts val="0"/>
              </a:spcAft>
              <a:buSzPts val="1400"/>
              <a:buNone/>
              <a:defRPr sz="1579"/>
            </a:lvl5pPr>
            <a:lvl6pPr lvl="5">
              <a:spcBef>
                <a:spcPts val="0"/>
              </a:spcBef>
              <a:spcAft>
                <a:spcPts val="0"/>
              </a:spcAft>
              <a:buSzPts val="1400"/>
              <a:buNone/>
              <a:defRPr sz="1579"/>
            </a:lvl6pPr>
            <a:lvl7pPr lvl="6">
              <a:spcBef>
                <a:spcPts val="0"/>
              </a:spcBef>
              <a:spcAft>
                <a:spcPts val="0"/>
              </a:spcAft>
              <a:buSzPts val="1400"/>
              <a:buNone/>
              <a:defRPr sz="1579"/>
            </a:lvl7pPr>
            <a:lvl8pPr lvl="7">
              <a:spcBef>
                <a:spcPts val="0"/>
              </a:spcBef>
              <a:spcAft>
                <a:spcPts val="0"/>
              </a:spcAft>
              <a:buSzPts val="1400"/>
              <a:buNone/>
              <a:defRPr sz="1579"/>
            </a:lvl8pPr>
            <a:lvl9pPr lvl="8">
              <a:spcBef>
                <a:spcPts val="0"/>
              </a:spcBef>
              <a:spcAft>
                <a:spcPts val="0"/>
              </a:spcAft>
              <a:buSzPts val="1400"/>
              <a:buNone/>
              <a:defRPr sz="1579"/>
            </a:lvl9pPr>
          </a:lstStyle>
          <a:p>
            <a:endParaRPr/>
          </a:p>
        </p:txBody>
      </p:sp>
      <p:sp>
        <p:nvSpPr>
          <p:cNvPr id="22" name="Google Shape;22;p50"/>
          <p:cNvSpPr txBox="1">
            <a:spLocks noGrp="1"/>
          </p:cNvSpPr>
          <p:nvPr>
            <p:ph type="body" idx="1"/>
          </p:nvPr>
        </p:nvSpPr>
        <p:spPr>
          <a:xfrm>
            <a:off x="888352" y="4666006"/>
            <a:ext cx="9338397" cy="351882"/>
          </a:xfrm>
          <a:prstGeom prst="rect">
            <a:avLst/>
          </a:prstGeom>
          <a:noFill/>
          <a:ln>
            <a:noFill/>
          </a:ln>
        </p:spPr>
        <p:txBody>
          <a:bodyPr spcFirstLastPara="1" wrap="square" lIns="91425" tIns="45700" rIns="91425" bIns="45700" anchor="t" anchorCtr="0">
            <a:noAutofit/>
          </a:bodyPr>
          <a:lstStyle>
            <a:lvl1pPr marL="401010" marR="0" lvl="0" indent="-200505" algn="l" rtl="0">
              <a:lnSpc>
                <a:spcPct val="90000"/>
              </a:lnSpc>
              <a:spcBef>
                <a:spcPts val="877"/>
              </a:spcBef>
              <a:spcAft>
                <a:spcPts val="0"/>
              </a:spcAft>
              <a:buClr>
                <a:schemeClr val="dk1"/>
              </a:buClr>
              <a:buSzPts val="1600"/>
              <a:buFont typeface="Arial"/>
              <a:buNone/>
              <a:defRPr sz="1403" b="1" i="0" u="none" strike="noStrike" cap="none">
                <a:solidFill>
                  <a:schemeClr val="dk1"/>
                </a:solidFill>
                <a:latin typeface="Slate Pro" panose="02000506040000020004" pitchFamily="2" charset="0"/>
                <a:ea typeface="Slate Pro" panose="02000506040000020004" pitchFamily="2" charset="0"/>
                <a:cs typeface="Arial"/>
                <a:sym typeface="Slate Pro" panose="02000506040000020004" pitchFamily="2" charset="0"/>
              </a:defRPr>
            </a:lvl1pPr>
            <a:lvl2pPr marL="802020" marR="0" lvl="1" indent="-200505" algn="ctr" rtl="0">
              <a:lnSpc>
                <a:spcPct val="90000"/>
              </a:lnSpc>
              <a:spcBef>
                <a:spcPts val="439"/>
              </a:spcBef>
              <a:spcAft>
                <a:spcPts val="0"/>
              </a:spcAft>
              <a:buClr>
                <a:schemeClr val="dk1"/>
              </a:buClr>
              <a:buSzPts val="2400"/>
              <a:buFont typeface="Arial"/>
              <a:buNone/>
              <a:defRPr sz="2105" b="0" i="0" u="none" strike="noStrike" cap="none">
                <a:solidFill>
                  <a:schemeClr val="dk1"/>
                </a:solidFill>
                <a:latin typeface="Arial"/>
                <a:ea typeface="Arial"/>
                <a:cs typeface="Arial"/>
                <a:sym typeface="Arial"/>
              </a:defRPr>
            </a:lvl2pPr>
            <a:lvl3pPr marL="1203030" marR="0" lvl="2" indent="-200505" algn="ctr" rtl="0">
              <a:lnSpc>
                <a:spcPct val="90000"/>
              </a:lnSpc>
              <a:spcBef>
                <a:spcPts val="439"/>
              </a:spcBef>
              <a:spcAft>
                <a:spcPts val="0"/>
              </a:spcAft>
              <a:buClr>
                <a:schemeClr val="dk1"/>
              </a:buClr>
              <a:buSzPts val="2000"/>
              <a:buFont typeface="Arial"/>
              <a:buNone/>
              <a:defRPr sz="1754" b="0" i="0" u="none" strike="noStrike" cap="none">
                <a:solidFill>
                  <a:schemeClr val="dk1"/>
                </a:solidFill>
                <a:latin typeface="Arial"/>
                <a:ea typeface="Arial"/>
                <a:cs typeface="Arial"/>
                <a:sym typeface="Arial"/>
              </a:defRPr>
            </a:lvl3pPr>
            <a:lvl4pPr marL="1604040" marR="0" lvl="3" indent="-200505" algn="ctr" rtl="0">
              <a:lnSpc>
                <a:spcPct val="90000"/>
              </a:lnSpc>
              <a:spcBef>
                <a:spcPts val="439"/>
              </a:spcBef>
              <a:spcAft>
                <a:spcPts val="0"/>
              </a:spcAft>
              <a:buClr>
                <a:schemeClr val="dk1"/>
              </a:buClr>
              <a:buSzPts val="1800"/>
              <a:buFont typeface="Arial"/>
              <a:buNone/>
              <a:defRPr sz="1579" b="0" i="0" u="none" strike="noStrike" cap="none">
                <a:solidFill>
                  <a:schemeClr val="dk1"/>
                </a:solidFill>
                <a:latin typeface="Arial"/>
                <a:ea typeface="Arial"/>
                <a:cs typeface="Arial"/>
                <a:sym typeface="Arial"/>
              </a:defRPr>
            </a:lvl4pPr>
            <a:lvl5pPr marL="2005051" marR="0" lvl="4" indent="-200505" algn="ctr" rtl="0">
              <a:lnSpc>
                <a:spcPct val="90000"/>
              </a:lnSpc>
              <a:spcBef>
                <a:spcPts val="439"/>
              </a:spcBef>
              <a:spcAft>
                <a:spcPts val="0"/>
              </a:spcAft>
              <a:buClr>
                <a:schemeClr val="dk1"/>
              </a:buClr>
              <a:buSzPts val="1800"/>
              <a:buFont typeface="Arial"/>
              <a:buNone/>
              <a:defRPr sz="1579" b="0" i="0" u="none" strike="noStrike" cap="none">
                <a:solidFill>
                  <a:schemeClr val="dk1"/>
                </a:solidFill>
                <a:latin typeface="Arial"/>
                <a:ea typeface="Arial"/>
                <a:cs typeface="Arial"/>
                <a:sym typeface="Arial"/>
              </a:defRPr>
            </a:lvl5pPr>
            <a:lvl6pPr marL="2406061" marR="0" lvl="5"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6pPr>
            <a:lvl7pPr marL="2807071" marR="0" lvl="6"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7pPr>
            <a:lvl8pPr marL="3208081" marR="0" lvl="7"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8pPr>
            <a:lvl9pPr marL="3609091" marR="0" lvl="8"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7899562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3A168D-33DA-67EB-63E2-75B0A3815A41}"/>
              </a:ext>
            </a:extLst>
          </p:cNvPr>
          <p:cNvGraphicFramePr>
            <a:graphicFrameLocks noChangeAspect="1"/>
          </p:cNvGraphicFramePr>
          <p:nvPr userDrawn="1">
            <p:custDataLst>
              <p:tags r:id="rId1"/>
            </p:custDataLst>
            <p:extLst>
              <p:ext uri="{D42A27DB-BD31-4B8C-83A1-F6EECF244321}">
                <p14:modId xmlns:p14="http://schemas.microsoft.com/office/powerpoint/2010/main" val="3067194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0" imgH="320" progId="TCLayout.ActiveDocument.1">
                  <p:embed/>
                </p:oleObj>
              </mc:Choice>
              <mc:Fallback>
                <p:oleObj name="think-cell Slide" r:id="rId3" imgW="320" imgH="320" progId="TCLayout.ActiveDocument.1">
                  <p:embed/>
                  <p:pic>
                    <p:nvPicPr>
                      <p:cNvPr id="3" name="think-cell data - do not delete" hidden="1">
                        <a:extLst>
                          <a:ext uri="{FF2B5EF4-FFF2-40B4-BE49-F238E27FC236}">
                            <a16:creationId xmlns:a16="http://schemas.microsoft.com/office/drawing/2014/main" id="{3F3A168D-33DA-67EB-63E2-75B0A3815A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3550" b="1" i="0">
                <a:solidFill>
                  <a:srgbClr val="DA291C"/>
                </a:solidFill>
                <a:latin typeface="Slate Pro" panose="02000506040000020004" pitchFamily="2" charset="0"/>
                <a:cs typeface="Arial"/>
                <a:sym typeface="Slate Pro" panose="02000506040000020004" pitchFamily="2" charset="0"/>
              </a:defRPr>
            </a:lvl1pPr>
          </a:lstStyle>
          <a:p>
            <a:endParaRPr dirty="0"/>
          </a:p>
        </p:txBody>
      </p:sp>
      <p:sp>
        <p:nvSpPr>
          <p:cNvPr id="5" name="Holder 5"/>
          <p:cNvSpPr>
            <a:spLocks noGrp="1"/>
          </p:cNvSpPr>
          <p:nvPr>
            <p:ph type="sldNum" sz="quarter" idx="7"/>
          </p:nvPr>
        </p:nvSpPr>
        <p:spPr/>
        <p:txBody>
          <a:bodyPr lIns="0" tIns="0" rIns="0" bIns="0"/>
          <a:lstStyle>
            <a:lvl1pPr>
              <a:defRPr sz="1100" b="1" i="0">
                <a:solidFill>
                  <a:schemeClr val="bg1"/>
                </a:solidFill>
                <a:latin typeface="Slate Pro" panose="02000506040000020004" pitchFamily="2" charset="0"/>
                <a:cs typeface="Arial"/>
                <a:sym typeface="Slate Pro" panose="02000506040000020004" pitchFamily="2" charset="0"/>
              </a:defRPr>
            </a:lvl1pPr>
          </a:lstStyle>
          <a:p>
            <a:pPr marL="38100">
              <a:lnSpc>
                <a:spcPts val="1115"/>
              </a:lnSpc>
            </a:pPr>
            <a:fld id="{81D60167-4931-47E6-BA6A-407CBD079E47}" type="slidenum">
              <a:rPr lang="en-US" spc="-25" smtClean="0"/>
              <a:pPr marL="38100">
                <a:lnSpc>
                  <a:spcPts val="1115"/>
                </a:lnSpc>
              </a:pPr>
              <a:t>‹#›</a:t>
            </a:fld>
            <a:endParaRPr lang="en-US" spc="-25" dirty="0"/>
          </a:p>
        </p:txBody>
      </p:sp>
      <p:sp>
        <p:nvSpPr>
          <p:cNvPr id="6" name="Holder 4">
            <a:extLst>
              <a:ext uri="{FF2B5EF4-FFF2-40B4-BE49-F238E27FC236}">
                <a16:creationId xmlns:a16="http://schemas.microsoft.com/office/drawing/2014/main" id="{01DCA366-B11E-459C-F2F2-36DBB9E50385}"/>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venir Next LT Pro" panose="020B0504020202020204"/>
                <a:cs typeface="Arial"/>
              </a:defRPr>
            </a:lvl1pPr>
          </a:lstStyle>
          <a:p>
            <a:pPr marL="12700">
              <a:lnSpc>
                <a:spcPts val="930"/>
              </a:lnSpc>
            </a:pPr>
            <a:r>
              <a:rPr lang="en-US">
                <a:latin typeface="Slate Pro" panose="02000506040000020004" pitchFamily="2" charset="0"/>
              </a:rPr>
              <a:t>ACME </a:t>
            </a:r>
            <a:r>
              <a:rPr lang="en-US" spc="-40">
                <a:latin typeface="Slate Pro" panose="02000506040000020004" pitchFamily="2" charset="0"/>
              </a:rPr>
              <a:t>Partner PROGRAM GUIDE</a:t>
            </a:r>
            <a:endParaRPr lang="en-US" spc="-10" dirty="0">
              <a:latin typeface="Slate Pro" panose="02000506040000020004" pitchFamily="2" charset="0"/>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CAD13A-32FC-0D50-9ECB-03791AC48315}"/>
              </a:ext>
            </a:extLst>
          </p:cNvPr>
          <p:cNvGraphicFramePr>
            <a:graphicFrameLocks noChangeAspect="1"/>
          </p:cNvGraphicFramePr>
          <p:nvPr userDrawn="1">
            <p:custDataLst>
              <p:tags r:id="rId1"/>
            </p:custDataLst>
            <p:extLst>
              <p:ext uri="{D42A27DB-BD31-4B8C-83A1-F6EECF244321}">
                <p14:modId xmlns:p14="http://schemas.microsoft.com/office/powerpoint/2010/main" val="104832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Google Shape;35;p52"/>
          <p:cNvSpPr txBox="1">
            <a:spLocks noGrp="1"/>
          </p:cNvSpPr>
          <p:nvPr>
            <p:ph type="body" idx="1"/>
          </p:nvPr>
        </p:nvSpPr>
        <p:spPr>
          <a:xfrm>
            <a:off x="4319131" y="2808815"/>
            <a:ext cx="2055138" cy="346197"/>
          </a:xfrm>
          <a:prstGeom prst="rect">
            <a:avLst/>
          </a:prstGeom>
          <a:noFill/>
          <a:ln>
            <a:noFill/>
          </a:ln>
        </p:spPr>
        <p:txBody>
          <a:bodyPr spcFirstLastPara="1" wrap="square" lIns="91425" tIns="45700" rIns="91425" bIns="45700" anchor="ctr" anchorCtr="0">
            <a:noAutofit/>
          </a:bodyPr>
          <a:lstStyle>
            <a:lvl1pPr marL="401010" marR="0" lvl="0" indent="-200505" algn="ctr" rtl="0">
              <a:lnSpc>
                <a:spcPct val="90000"/>
              </a:lnSpc>
              <a:spcBef>
                <a:spcPts val="877"/>
              </a:spcBef>
              <a:spcAft>
                <a:spcPts val="0"/>
              </a:spcAft>
              <a:buClr>
                <a:schemeClr val="dk1"/>
              </a:buClr>
              <a:buSzPts val="1600"/>
              <a:buFont typeface="Arial"/>
              <a:buNone/>
              <a:defRPr sz="1403" b="1" i="0" u="none" strike="noStrike" cap="none">
                <a:solidFill>
                  <a:schemeClr val="dk1"/>
                </a:solidFill>
                <a:latin typeface="Slate Pro" panose="02000506040000020004" pitchFamily="2" charset="0"/>
                <a:ea typeface="Slate Pro" panose="02000506040000020004" pitchFamily="2" charset="0"/>
                <a:cs typeface="Arial"/>
                <a:sym typeface="Slate Pro" panose="02000506040000020004" pitchFamily="2" charset="0"/>
              </a:defRPr>
            </a:lvl1pPr>
            <a:lvl2pPr marL="802020" marR="0" lvl="1"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2pPr>
            <a:lvl3pPr marL="1203030" marR="0" lvl="2"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3pPr>
            <a:lvl4pPr marL="1604040" marR="0" lvl="3"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4pPr>
            <a:lvl5pPr marL="2005051" marR="0" lvl="4"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5pPr>
            <a:lvl6pPr marL="2406061" marR="0" lvl="5"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6pPr>
            <a:lvl7pPr marL="2807071" marR="0" lvl="6"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7pPr>
            <a:lvl8pPr marL="3208081" marR="0" lvl="7"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8pPr>
            <a:lvl9pPr marL="3609091" marR="0" lvl="8"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9348185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55607095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534670" y="1773359"/>
            <a:ext cx="9614842" cy="503320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3522133"/>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61179526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4075246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400051521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34670" y="1853949"/>
            <a:ext cx="6416039"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34670" y="2762541"/>
            <a:ext cx="6416039"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7281130" y="1853949"/>
            <a:ext cx="2877601"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7281130" y="2762541"/>
            <a:ext cx="2877601"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058340"/>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21084406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33741" y="1853949"/>
            <a:ext cx="4546088" cy="908592"/>
          </a:xfrm>
        </p:spPr>
        <p:txBody>
          <a:bodyPr anchor="b">
            <a:normAutofit/>
          </a:bodyPr>
          <a:lstStyle>
            <a:lvl1pPr marL="0" indent="0">
              <a:buNone/>
              <a:defRPr sz="1754"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34670" y="2762541"/>
            <a:ext cx="4545159" cy="4063282"/>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5613570" y="1853949"/>
            <a:ext cx="4546088" cy="908592"/>
          </a:xfrm>
        </p:spPr>
        <p:txBody>
          <a:bodyPr anchor="b">
            <a:normAutofit/>
          </a:bodyPr>
          <a:lstStyle>
            <a:lvl1pPr marL="0" indent="0">
              <a:buNone/>
              <a:defRPr sz="1754"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5613570" y="2762541"/>
            <a:ext cx="4546088" cy="4063282"/>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3796533497"/>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79588279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34670" y="1853949"/>
            <a:ext cx="2877602"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34670" y="2762541"/>
            <a:ext cx="2877602"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7281130" y="1853949"/>
            <a:ext cx="2877601"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7281130" y="2762541"/>
            <a:ext cx="2877601"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3907899" y="1853949"/>
            <a:ext cx="2877602"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3907899" y="2762541"/>
            <a:ext cx="2877602"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6782292"/>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51564408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43888" y="1785383"/>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43888" y="2768669"/>
            <a:ext cx="2249355"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2970081" y="1785383"/>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2970081" y="2768669"/>
            <a:ext cx="2249354"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7900158" y="1779255"/>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7900158" y="2768669"/>
            <a:ext cx="2249354"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5468985" y="1779255"/>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5473964" y="2768669"/>
            <a:ext cx="2249354"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7494846"/>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57074419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615901" y="861196"/>
            <a:ext cx="3064832" cy="82168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tx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866677262"/>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73231364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4125938183"/>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28818868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08273956"/>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13605806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534670" y="1773359"/>
            <a:ext cx="9614842" cy="503320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910854"/>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73891000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9361" y="0"/>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28714933"/>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78077164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0693401"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22423375"/>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1295159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0693400" cy="756285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971256589"/>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253930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601402951"/>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83471416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77684960"/>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6108437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439843825"/>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50990118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0693400" cy="756285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30386" y="2783144"/>
            <a:ext cx="8015870" cy="733123"/>
          </a:xfrm>
        </p:spPr>
        <p:txBody>
          <a:bodyPr vert="horz" lIns="91440" tIns="91440" rIns="91440" bIns="91440" anchor="ctr">
            <a:noAutofit/>
          </a:bodyPr>
          <a:lstStyle>
            <a:lvl1pPr algn="l">
              <a:defRPr sz="3158">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33506" y="4409213"/>
            <a:ext cx="4022556" cy="357135"/>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30386" y="3798443"/>
            <a:ext cx="8015870" cy="328594"/>
          </a:xfrm>
        </p:spPr>
        <p:txBody>
          <a:bodyPr vert="horz" lIns="91440" tIns="91440" rIns="91440" bIns="91440" rtlCol="0" anchor="ctr">
            <a:noAutofit/>
          </a:bodyPr>
          <a:lstStyle>
            <a:lvl1pPr>
              <a:defRPr lang="en-US" sz="193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615901" y="861196"/>
            <a:ext cx="3064832" cy="82168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330386" y="6985202"/>
            <a:ext cx="5016080" cy="134973"/>
          </a:xfrm>
          <a:prstGeom prst="rect">
            <a:avLst/>
          </a:prstGeom>
          <a:noFill/>
        </p:spPr>
        <p:txBody>
          <a:bodyPr wrap="square" lIns="0" tIns="0" rIns="0" bIns="0" rtlCol="0">
            <a:spAutoFit/>
          </a:bodyPr>
          <a:lstStyle/>
          <a:p>
            <a:pPr algn="ctr"/>
            <a:r>
              <a:rPr lang="en-US" sz="877"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382364367"/>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17252518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580979" y="2410781"/>
            <a:ext cx="1187692" cy="3011135"/>
          </a:xfrm>
        </p:spPr>
        <p:txBody>
          <a:bodyPr>
            <a:normAutofit/>
          </a:bodyPr>
          <a:lstStyle>
            <a:lvl1pPr marL="0" indent="0" algn="l" defTabSz="802020" rtl="0" eaLnBrk="1" latinLnBrk="0" hangingPunct="1">
              <a:lnSpc>
                <a:spcPct val="90000"/>
              </a:lnSpc>
              <a:spcBef>
                <a:spcPts val="877"/>
              </a:spcBef>
              <a:buFont typeface="Arial" panose="020B0604020202020204" pitchFamily="34" charset="0"/>
              <a:buNone/>
              <a:defRPr lang="en-US" sz="4736"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4736"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4736"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4736"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403"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2815158" y="2571045"/>
            <a:ext cx="6022322" cy="626194"/>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4pPr marL="405187"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2815158" y="3539841"/>
            <a:ext cx="6022322" cy="626194"/>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4pPr marL="405187"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2815158" y="4515101"/>
            <a:ext cx="6022322" cy="626194"/>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4pPr marL="405187"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588913" y="1647217"/>
            <a:ext cx="9623307" cy="609230"/>
          </a:xfrm>
        </p:spPr>
        <p:txBody>
          <a:bodyPr>
            <a:noAutofit/>
          </a:bodyPr>
          <a:lstStyle>
            <a:lvl1pPr>
              <a:defRPr sz="1930" b="1">
                <a:latin typeface="Slate Pro" panose="02000506040000020004" pitchFamily="2" charset="0"/>
                <a:sym typeface="Slate Pro" panose="02000506040000020004" pitchFamily="2" charset="0"/>
              </a:defRPr>
            </a:lvl1pPr>
            <a:lvl5pPr marL="598730" indent="0">
              <a:buNone/>
              <a:defRPr/>
            </a:lvl5pPr>
          </a:lstStyle>
          <a:p>
            <a:pPr lvl="0"/>
            <a:r>
              <a:rPr lang="en-US" dirty="0"/>
              <a:t>For Our Discussion Today</a:t>
            </a:r>
          </a:p>
        </p:txBody>
      </p:sp>
    </p:spTree>
    <p:extLst>
      <p:ext uri="{BB962C8B-B14F-4D97-AF65-F5344CB8AC3E}">
        <p14:creationId xmlns:p14="http://schemas.microsoft.com/office/powerpoint/2010/main" val="3739347605"/>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120754802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153956" y="2794054"/>
            <a:ext cx="6411903" cy="965163"/>
          </a:xfrm>
        </p:spPr>
        <p:txBody>
          <a:bodyPr tIns="91440" bIns="91440" anchor="ctr">
            <a:noAutofit/>
          </a:bodyPr>
          <a:lstStyle>
            <a:lvl1pPr>
              <a:defRPr sz="3859"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534671" y="2794054"/>
            <a:ext cx="763815" cy="965163"/>
          </a:xfrm>
        </p:spPr>
        <p:txBody>
          <a:bodyPr tIns="91440" bIns="91440" anchor="ctr">
            <a:normAutofit/>
          </a:bodyPr>
          <a:lstStyle>
            <a:lvl1pPr algn="ctr">
              <a:defRPr sz="3859"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103284296"/>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63137777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153956" y="2794054"/>
            <a:ext cx="6411903" cy="965163"/>
          </a:xfrm>
        </p:spPr>
        <p:txBody>
          <a:bodyPr tIns="91440" bIns="91440" anchor="ctr">
            <a:noAutofit/>
          </a:bodyPr>
          <a:lstStyle>
            <a:lvl1pPr>
              <a:defRPr sz="3859"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534671" y="2794054"/>
            <a:ext cx="763815" cy="965163"/>
          </a:xfrm>
        </p:spPr>
        <p:txBody>
          <a:bodyPr tIns="91440" bIns="91440" anchor="ctr">
            <a:normAutofit/>
          </a:bodyPr>
          <a:lstStyle>
            <a:lvl1pPr algn="ctr">
              <a:defRPr sz="3859"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1098777985"/>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03876692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25169492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93174265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153956" y="2794054"/>
            <a:ext cx="6411903" cy="965163"/>
          </a:xfrm>
        </p:spPr>
        <p:txBody>
          <a:bodyPr tIns="91440" bIns="91440" anchor="ctr">
            <a:noAutofit/>
          </a:bodyPr>
          <a:lstStyle>
            <a:lvl1pPr>
              <a:defRPr sz="3859"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534671" y="2794054"/>
            <a:ext cx="763815" cy="965163"/>
          </a:xfrm>
        </p:spPr>
        <p:txBody>
          <a:bodyPr tIns="91440" bIns="91440" anchor="ctr">
            <a:normAutofit/>
          </a:bodyPr>
          <a:lstStyle>
            <a:lvl1pPr algn="ctr">
              <a:defRPr sz="3859"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1479385647"/>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1518485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6915065" y="4"/>
            <a:ext cx="3778336" cy="756284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389201" y="1773358"/>
            <a:ext cx="2830064" cy="4033520"/>
          </a:xfrm>
        </p:spPr>
        <p:txBody>
          <a:bodyPr>
            <a:normAutofit/>
          </a:bodyPr>
          <a:lstStyle>
            <a:lvl1pPr>
              <a:defRPr sz="1228">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69" y="1773358"/>
            <a:ext cx="5596214" cy="3618613"/>
          </a:xfrm>
        </p:spPr>
        <p:txBody>
          <a:bodyPr>
            <a:normAutofit/>
          </a:bodyPr>
          <a:lstStyle>
            <a:lvl1pPr>
              <a:defRPr sz="3508"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3889" y="7058816"/>
            <a:ext cx="543889" cy="289495"/>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bg1"/>
                </a:solidFill>
                <a:latin typeface="Slate Pro" panose="02000506040000020004" pitchFamily="2" charset="0"/>
                <a:sym typeface="Slate Pro" panose="02000506040000020004" pitchFamily="2" charset="0"/>
              </a:rPr>
              <a:pPr algn="r"/>
              <a:t>‹#›</a:t>
            </a:fld>
            <a:endParaRPr lang="en-US" sz="965"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04456560"/>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56287944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6915065" y="4"/>
            <a:ext cx="3778336" cy="75628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389201" y="1773358"/>
            <a:ext cx="2830064" cy="4033520"/>
          </a:xfrm>
        </p:spPr>
        <p:txBody>
          <a:bodyPr>
            <a:normAutofit/>
          </a:bodyPr>
          <a:lstStyle>
            <a:lvl1pPr>
              <a:defRPr sz="1228">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69" y="1773358"/>
            <a:ext cx="5596214" cy="3618613"/>
          </a:xfrm>
        </p:spPr>
        <p:txBody>
          <a:bodyPr>
            <a:normAutofit/>
          </a:bodyPr>
          <a:lstStyle>
            <a:lvl1pPr>
              <a:defRPr sz="3508"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3889" y="7058816"/>
            <a:ext cx="543889" cy="289495"/>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bg1"/>
                </a:solidFill>
                <a:latin typeface="Slate Pro" panose="02000506040000020004" pitchFamily="2" charset="0"/>
                <a:sym typeface="Slate Pro" panose="02000506040000020004" pitchFamily="2" charset="0"/>
              </a:rPr>
              <a:pPr algn="r"/>
              <a:t>‹#›</a:t>
            </a:fld>
            <a:endParaRPr lang="en-US" sz="965"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329254870"/>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7334688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6338" y="0"/>
            <a:ext cx="6147221" cy="756285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6959928" y="1773358"/>
            <a:ext cx="3198803" cy="4033520"/>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70" y="1773358"/>
            <a:ext cx="5024860" cy="3618613"/>
          </a:xfrm>
        </p:spPr>
        <p:txBody>
          <a:bodyPr>
            <a:normAutofit/>
          </a:bodyPr>
          <a:lstStyle>
            <a:lvl1pPr>
              <a:defRPr sz="3508"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tx1"/>
                </a:solidFill>
                <a:latin typeface="Slate Pro" panose="02000506040000020004" pitchFamily="2" charset="0"/>
                <a:sym typeface="Slate Pro" panose="02000506040000020004" pitchFamily="2" charset="0"/>
              </a:rPr>
              <a:pPr algn="r"/>
              <a:t>‹#›</a:t>
            </a:fld>
            <a:endParaRPr lang="en-US" sz="965"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543888" y="7058816"/>
            <a:ext cx="540504" cy="289495"/>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420278183"/>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58831935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6338" y="0"/>
            <a:ext cx="6147221" cy="7562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6959928" y="1773358"/>
            <a:ext cx="3198803" cy="4033520"/>
          </a:xfrm>
        </p:spPr>
        <p:txBody>
          <a:bodyPr>
            <a:normAutofit/>
          </a:bodyPr>
          <a:lstStyle>
            <a:lvl1pPr>
              <a:defRPr sz="1228">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70" y="1773358"/>
            <a:ext cx="5024860" cy="3618613"/>
          </a:xfrm>
        </p:spPr>
        <p:txBody>
          <a:bodyPr>
            <a:normAutofit/>
          </a:bodyPr>
          <a:lstStyle>
            <a:lvl1pPr>
              <a:defRPr sz="3508"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543888" y="7054203"/>
            <a:ext cx="540504" cy="289495"/>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9882616" y="7134036"/>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tx1"/>
                </a:solidFill>
                <a:latin typeface="Slate Pro" panose="02000506040000020004" pitchFamily="2" charset="0"/>
                <a:sym typeface="Slate Pro" panose="02000506040000020004" pitchFamily="2" charset="0"/>
              </a:rPr>
              <a:pPr algn="r"/>
              <a:t>‹#›</a:t>
            </a:fld>
            <a:endParaRPr lang="en-US" sz="965"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895920074"/>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54200494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752715" y="4"/>
            <a:ext cx="2940685" cy="75628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195201" y="1773358"/>
            <a:ext cx="1963530" cy="4033520"/>
          </a:xfrm>
        </p:spPr>
        <p:txBody>
          <a:bodyPr>
            <a:normAutofit/>
          </a:bodyPr>
          <a:lstStyle>
            <a:lvl1pPr>
              <a:defRPr sz="1228">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534669" y="1773358"/>
            <a:ext cx="6406823" cy="3618613"/>
          </a:xfrm>
        </p:spPr>
        <p:txBody>
          <a:bodyPr>
            <a:normAutofit/>
          </a:bodyPr>
          <a:lstStyle>
            <a:lvl1pPr>
              <a:defRPr sz="3508"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3889" y="7054203"/>
            <a:ext cx="543889" cy="289495"/>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9882616" y="7129762"/>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bg1"/>
                </a:solidFill>
                <a:latin typeface="Slate Pro" panose="02000506040000020004" pitchFamily="2" charset="0"/>
                <a:sym typeface="Slate Pro" panose="02000506040000020004" pitchFamily="2" charset="0"/>
              </a:rPr>
              <a:pPr algn="r"/>
              <a:t>‹#›</a:t>
            </a:fld>
            <a:endParaRPr lang="en-US" sz="965"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543888" y="7398762"/>
            <a:ext cx="4135586" cy="80920"/>
          </a:xfrm>
          <a:prstGeom prst="rect">
            <a:avLst/>
          </a:prstGeom>
          <a:noFill/>
        </p:spPr>
        <p:txBody>
          <a:bodyPr wrap="square" lIns="0" tIns="0" rIns="0" bIns="0" rtlCol="0">
            <a:spAutoFit/>
          </a:bodyPr>
          <a:lstStyle/>
          <a:p>
            <a:pPr algn="l"/>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85355573"/>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D097FE7-0454-08D3-DA95-CB91D226CDCF}"/>
              </a:ext>
            </a:extLst>
          </p:cNvPr>
          <p:cNvGraphicFramePr>
            <a:graphicFrameLocks noChangeAspect="1"/>
          </p:cNvGraphicFramePr>
          <p:nvPr userDrawn="1">
            <p:custDataLst>
              <p:tags r:id="rId1"/>
            </p:custDataLst>
            <p:extLst>
              <p:ext uri="{D42A27DB-BD31-4B8C-83A1-F6EECF244321}">
                <p14:modId xmlns:p14="http://schemas.microsoft.com/office/powerpoint/2010/main" val="1979826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Google Shape;21;p50"/>
          <p:cNvSpPr txBox="1">
            <a:spLocks noGrp="1"/>
          </p:cNvSpPr>
          <p:nvPr>
            <p:ph type="title"/>
          </p:nvPr>
        </p:nvSpPr>
        <p:spPr>
          <a:xfrm>
            <a:off x="863419" y="2406943"/>
            <a:ext cx="9338397" cy="2065393"/>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3859" b="1" i="0" u="none" strike="noStrike" cap="none">
                <a:solidFill>
                  <a:schemeClr val="dk1"/>
                </a:solidFill>
                <a:latin typeface="Slate Pro" panose="02000506040000020004" pitchFamily="2" charset="0"/>
                <a:ea typeface="Slate Pro" panose="02000506040000020004" pitchFamily="2" charset="0"/>
                <a:cs typeface="Arial"/>
                <a:sym typeface="Slate Pro" panose="02000506040000020004" pitchFamily="2" charset="0"/>
              </a:defRPr>
            </a:lvl1pPr>
            <a:lvl2pPr lvl="1">
              <a:spcBef>
                <a:spcPts val="0"/>
              </a:spcBef>
              <a:spcAft>
                <a:spcPts val="0"/>
              </a:spcAft>
              <a:buSzPts val="1400"/>
              <a:buNone/>
              <a:defRPr sz="1579"/>
            </a:lvl2pPr>
            <a:lvl3pPr lvl="2">
              <a:spcBef>
                <a:spcPts val="0"/>
              </a:spcBef>
              <a:spcAft>
                <a:spcPts val="0"/>
              </a:spcAft>
              <a:buSzPts val="1400"/>
              <a:buNone/>
              <a:defRPr sz="1579"/>
            </a:lvl3pPr>
            <a:lvl4pPr lvl="3">
              <a:spcBef>
                <a:spcPts val="0"/>
              </a:spcBef>
              <a:spcAft>
                <a:spcPts val="0"/>
              </a:spcAft>
              <a:buSzPts val="1400"/>
              <a:buNone/>
              <a:defRPr sz="1579"/>
            </a:lvl4pPr>
            <a:lvl5pPr lvl="4">
              <a:spcBef>
                <a:spcPts val="0"/>
              </a:spcBef>
              <a:spcAft>
                <a:spcPts val="0"/>
              </a:spcAft>
              <a:buSzPts val="1400"/>
              <a:buNone/>
              <a:defRPr sz="1579"/>
            </a:lvl5pPr>
            <a:lvl6pPr lvl="5">
              <a:spcBef>
                <a:spcPts val="0"/>
              </a:spcBef>
              <a:spcAft>
                <a:spcPts val="0"/>
              </a:spcAft>
              <a:buSzPts val="1400"/>
              <a:buNone/>
              <a:defRPr sz="1579"/>
            </a:lvl6pPr>
            <a:lvl7pPr lvl="6">
              <a:spcBef>
                <a:spcPts val="0"/>
              </a:spcBef>
              <a:spcAft>
                <a:spcPts val="0"/>
              </a:spcAft>
              <a:buSzPts val="1400"/>
              <a:buNone/>
              <a:defRPr sz="1579"/>
            </a:lvl7pPr>
            <a:lvl8pPr lvl="7">
              <a:spcBef>
                <a:spcPts val="0"/>
              </a:spcBef>
              <a:spcAft>
                <a:spcPts val="0"/>
              </a:spcAft>
              <a:buSzPts val="1400"/>
              <a:buNone/>
              <a:defRPr sz="1579"/>
            </a:lvl8pPr>
            <a:lvl9pPr lvl="8">
              <a:spcBef>
                <a:spcPts val="0"/>
              </a:spcBef>
              <a:spcAft>
                <a:spcPts val="0"/>
              </a:spcAft>
              <a:buSzPts val="1400"/>
              <a:buNone/>
              <a:defRPr sz="1579"/>
            </a:lvl9pPr>
          </a:lstStyle>
          <a:p>
            <a:endParaRPr/>
          </a:p>
        </p:txBody>
      </p:sp>
      <p:sp>
        <p:nvSpPr>
          <p:cNvPr id="22" name="Google Shape;22;p50"/>
          <p:cNvSpPr txBox="1">
            <a:spLocks noGrp="1"/>
          </p:cNvSpPr>
          <p:nvPr>
            <p:ph type="body" idx="1"/>
          </p:nvPr>
        </p:nvSpPr>
        <p:spPr>
          <a:xfrm>
            <a:off x="888352" y="4666006"/>
            <a:ext cx="9338397" cy="351882"/>
          </a:xfrm>
          <a:prstGeom prst="rect">
            <a:avLst/>
          </a:prstGeom>
          <a:noFill/>
          <a:ln>
            <a:noFill/>
          </a:ln>
        </p:spPr>
        <p:txBody>
          <a:bodyPr spcFirstLastPara="1" wrap="square" lIns="91425" tIns="45700" rIns="91425" bIns="45700" anchor="t" anchorCtr="0">
            <a:noAutofit/>
          </a:bodyPr>
          <a:lstStyle>
            <a:lvl1pPr marL="401010" marR="0" lvl="0" indent="-200505" algn="l" rtl="0">
              <a:lnSpc>
                <a:spcPct val="90000"/>
              </a:lnSpc>
              <a:spcBef>
                <a:spcPts val="877"/>
              </a:spcBef>
              <a:spcAft>
                <a:spcPts val="0"/>
              </a:spcAft>
              <a:buClr>
                <a:schemeClr val="dk1"/>
              </a:buClr>
              <a:buSzPts val="1600"/>
              <a:buFont typeface="Arial"/>
              <a:buNone/>
              <a:defRPr sz="1403" b="1" i="0" u="none" strike="noStrike" cap="none">
                <a:solidFill>
                  <a:schemeClr val="dk1"/>
                </a:solidFill>
                <a:latin typeface="Slate Pro" panose="02000506040000020004" pitchFamily="2" charset="0"/>
                <a:ea typeface="Slate Pro" panose="02000506040000020004" pitchFamily="2" charset="0"/>
                <a:cs typeface="Arial"/>
                <a:sym typeface="Slate Pro" panose="02000506040000020004" pitchFamily="2" charset="0"/>
              </a:defRPr>
            </a:lvl1pPr>
            <a:lvl2pPr marL="802020" marR="0" lvl="1" indent="-200505" algn="ctr" rtl="0">
              <a:lnSpc>
                <a:spcPct val="90000"/>
              </a:lnSpc>
              <a:spcBef>
                <a:spcPts val="439"/>
              </a:spcBef>
              <a:spcAft>
                <a:spcPts val="0"/>
              </a:spcAft>
              <a:buClr>
                <a:schemeClr val="dk1"/>
              </a:buClr>
              <a:buSzPts val="2400"/>
              <a:buFont typeface="Arial"/>
              <a:buNone/>
              <a:defRPr sz="2105" b="0" i="0" u="none" strike="noStrike" cap="none">
                <a:solidFill>
                  <a:schemeClr val="dk1"/>
                </a:solidFill>
                <a:latin typeface="Arial"/>
                <a:ea typeface="Arial"/>
                <a:cs typeface="Arial"/>
                <a:sym typeface="Arial"/>
              </a:defRPr>
            </a:lvl2pPr>
            <a:lvl3pPr marL="1203030" marR="0" lvl="2" indent="-200505" algn="ctr" rtl="0">
              <a:lnSpc>
                <a:spcPct val="90000"/>
              </a:lnSpc>
              <a:spcBef>
                <a:spcPts val="439"/>
              </a:spcBef>
              <a:spcAft>
                <a:spcPts val="0"/>
              </a:spcAft>
              <a:buClr>
                <a:schemeClr val="dk1"/>
              </a:buClr>
              <a:buSzPts val="2000"/>
              <a:buFont typeface="Arial"/>
              <a:buNone/>
              <a:defRPr sz="1754" b="0" i="0" u="none" strike="noStrike" cap="none">
                <a:solidFill>
                  <a:schemeClr val="dk1"/>
                </a:solidFill>
                <a:latin typeface="Arial"/>
                <a:ea typeface="Arial"/>
                <a:cs typeface="Arial"/>
                <a:sym typeface="Arial"/>
              </a:defRPr>
            </a:lvl3pPr>
            <a:lvl4pPr marL="1604040" marR="0" lvl="3" indent="-200505" algn="ctr" rtl="0">
              <a:lnSpc>
                <a:spcPct val="90000"/>
              </a:lnSpc>
              <a:spcBef>
                <a:spcPts val="439"/>
              </a:spcBef>
              <a:spcAft>
                <a:spcPts val="0"/>
              </a:spcAft>
              <a:buClr>
                <a:schemeClr val="dk1"/>
              </a:buClr>
              <a:buSzPts val="1800"/>
              <a:buFont typeface="Arial"/>
              <a:buNone/>
              <a:defRPr sz="1579" b="0" i="0" u="none" strike="noStrike" cap="none">
                <a:solidFill>
                  <a:schemeClr val="dk1"/>
                </a:solidFill>
                <a:latin typeface="Arial"/>
                <a:ea typeface="Arial"/>
                <a:cs typeface="Arial"/>
                <a:sym typeface="Arial"/>
              </a:defRPr>
            </a:lvl4pPr>
            <a:lvl5pPr marL="2005051" marR="0" lvl="4" indent="-200505" algn="ctr" rtl="0">
              <a:lnSpc>
                <a:spcPct val="90000"/>
              </a:lnSpc>
              <a:spcBef>
                <a:spcPts val="439"/>
              </a:spcBef>
              <a:spcAft>
                <a:spcPts val="0"/>
              </a:spcAft>
              <a:buClr>
                <a:schemeClr val="dk1"/>
              </a:buClr>
              <a:buSzPts val="1800"/>
              <a:buFont typeface="Arial"/>
              <a:buNone/>
              <a:defRPr sz="1579" b="0" i="0" u="none" strike="noStrike" cap="none">
                <a:solidFill>
                  <a:schemeClr val="dk1"/>
                </a:solidFill>
                <a:latin typeface="Arial"/>
                <a:ea typeface="Arial"/>
                <a:cs typeface="Arial"/>
                <a:sym typeface="Arial"/>
              </a:defRPr>
            </a:lvl5pPr>
            <a:lvl6pPr marL="2406061" marR="0" lvl="5"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6pPr>
            <a:lvl7pPr marL="2807071" marR="0" lvl="6"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7pPr>
            <a:lvl8pPr marL="3208081" marR="0" lvl="7"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8pPr>
            <a:lvl9pPr marL="3609091" marR="0" lvl="8"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919594251"/>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A52D1E9-CA93-DDFA-2FF0-1D8D958BAD18}"/>
              </a:ext>
            </a:extLst>
          </p:cNvPr>
          <p:cNvGraphicFramePr>
            <a:graphicFrameLocks noChangeAspect="1"/>
          </p:cNvGraphicFramePr>
          <p:nvPr userDrawn="1">
            <p:custDataLst>
              <p:tags r:id="rId1"/>
            </p:custDataLst>
            <p:extLst>
              <p:ext uri="{D42A27DB-BD31-4B8C-83A1-F6EECF244321}">
                <p14:modId xmlns:p14="http://schemas.microsoft.com/office/powerpoint/2010/main" val="3894488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Google Shape;35;p52"/>
          <p:cNvSpPr txBox="1">
            <a:spLocks noGrp="1"/>
          </p:cNvSpPr>
          <p:nvPr>
            <p:ph type="body" idx="1"/>
          </p:nvPr>
        </p:nvSpPr>
        <p:spPr>
          <a:xfrm>
            <a:off x="4319131" y="2808815"/>
            <a:ext cx="2055138" cy="346197"/>
          </a:xfrm>
          <a:prstGeom prst="rect">
            <a:avLst/>
          </a:prstGeom>
          <a:noFill/>
          <a:ln>
            <a:noFill/>
          </a:ln>
        </p:spPr>
        <p:txBody>
          <a:bodyPr spcFirstLastPara="1" wrap="square" lIns="91425" tIns="45700" rIns="91425" bIns="45700" anchor="ctr" anchorCtr="0">
            <a:noAutofit/>
          </a:bodyPr>
          <a:lstStyle>
            <a:lvl1pPr marL="401010" marR="0" lvl="0" indent="-200505" algn="ctr" rtl="0">
              <a:lnSpc>
                <a:spcPct val="90000"/>
              </a:lnSpc>
              <a:spcBef>
                <a:spcPts val="877"/>
              </a:spcBef>
              <a:spcAft>
                <a:spcPts val="0"/>
              </a:spcAft>
              <a:buClr>
                <a:schemeClr val="dk1"/>
              </a:buClr>
              <a:buSzPts val="1600"/>
              <a:buFont typeface="Arial"/>
              <a:buNone/>
              <a:defRPr sz="1403" b="1" i="0" u="none" strike="noStrike" cap="none">
                <a:solidFill>
                  <a:schemeClr val="dk1"/>
                </a:solidFill>
                <a:latin typeface="Slate Pro" panose="02000506040000020004" pitchFamily="2" charset="0"/>
                <a:ea typeface="Slate Pro" panose="02000506040000020004" pitchFamily="2" charset="0"/>
                <a:cs typeface="Arial"/>
                <a:sym typeface="Slate Pro" panose="02000506040000020004" pitchFamily="2" charset="0"/>
              </a:defRPr>
            </a:lvl1pPr>
            <a:lvl2pPr marL="802020" marR="0" lvl="1"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2pPr>
            <a:lvl3pPr marL="1203030" marR="0" lvl="2"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3pPr>
            <a:lvl4pPr marL="1604040" marR="0" lvl="3"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4pPr>
            <a:lvl5pPr marL="2005051" marR="0" lvl="4" indent="-289618" algn="l" rtl="0">
              <a:lnSpc>
                <a:spcPct val="90000"/>
              </a:lnSpc>
              <a:spcBef>
                <a:spcPts val="439"/>
              </a:spcBef>
              <a:spcAft>
                <a:spcPts val="0"/>
              </a:spcAft>
              <a:buClr>
                <a:schemeClr val="dk1"/>
              </a:buClr>
              <a:buSzPts val="1600"/>
              <a:buFont typeface="Arial"/>
              <a:buChar char="•"/>
              <a:defRPr sz="1403" b="1" i="0" u="none" strike="noStrike" cap="none">
                <a:solidFill>
                  <a:schemeClr val="dk1"/>
                </a:solidFill>
                <a:latin typeface="Arial"/>
                <a:ea typeface="Arial"/>
                <a:cs typeface="Arial"/>
                <a:sym typeface="Arial"/>
              </a:defRPr>
            </a:lvl5pPr>
            <a:lvl6pPr marL="2406061" marR="0" lvl="5"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6pPr>
            <a:lvl7pPr marL="2807071" marR="0" lvl="6"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7pPr>
            <a:lvl8pPr marL="3208081" marR="0" lvl="7"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8pPr>
            <a:lvl9pPr marL="3609091" marR="0" lvl="8" indent="-300758" algn="l" rtl="0">
              <a:lnSpc>
                <a:spcPct val="90000"/>
              </a:lnSpc>
              <a:spcBef>
                <a:spcPts val="439"/>
              </a:spcBef>
              <a:spcAft>
                <a:spcPts val="0"/>
              </a:spcAft>
              <a:buClr>
                <a:schemeClr val="dk1"/>
              </a:buClr>
              <a:buSzPts val="1800"/>
              <a:buFont typeface="Arial"/>
              <a:buChar char="•"/>
              <a:defRPr sz="157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0556665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38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F803EE-1759-9F92-054F-8F82CECD0408}"/>
              </a:ext>
            </a:extLst>
          </p:cNvPr>
          <p:cNvGraphicFramePr>
            <a:graphicFrameLocks noChangeAspect="1"/>
          </p:cNvGraphicFramePr>
          <p:nvPr userDrawn="1">
            <p:custDataLst>
              <p:tags r:id="rId1"/>
            </p:custDataLst>
            <p:extLst>
              <p:ext uri="{D42A27DB-BD31-4B8C-83A1-F6EECF244321}">
                <p14:modId xmlns:p14="http://schemas.microsoft.com/office/powerpoint/2010/main" val="2248357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89" name="Google Shape;1389;p90"/>
          <p:cNvSpPr txBox="1">
            <a:spLocks noGrp="1"/>
          </p:cNvSpPr>
          <p:nvPr>
            <p:ph type="title"/>
          </p:nvPr>
        </p:nvSpPr>
        <p:spPr>
          <a:xfrm>
            <a:off x="536063" y="702057"/>
            <a:ext cx="9622667" cy="39710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0" name="Google Shape;1390;p90"/>
          <p:cNvSpPr txBox="1">
            <a:spLocks noGrp="1"/>
          </p:cNvSpPr>
          <p:nvPr>
            <p:ph type="sldNum" idx="12"/>
          </p:nvPr>
        </p:nvSpPr>
        <p:spPr>
          <a:xfrm>
            <a:off x="10051276" y="6986270"/>
            <a:ext cx="274018" cy="203646"/>
          </a:xfrm>
          <a:prstGeom prst="rect">
            <a:avLst/>
          </a:prstGeom>
          <a:noFill/>
          <a:ln>
            <a:noFill/>
          </a:ln>
        </p:spPr>
        <p:txBody>
          <a:bodyPr spcFirstLastPara="1" wrap="square" lIns="0" tIns="0" rIns="0" bIns="0" anchor="ctr" anchorCtr="0">
            <a:noAutofit/>
          </a:bodyPr>
          <a:lstStyle>
            <a:lvl1pPr marL="0" lvl="0" indent="0" algn="l">
              <a:spcBef>
                <a:spcPts val="0"/>
              </a:spcBef>
              <a:buNone/>
              <a:defRPr>
                <a:latin typeface="Slate Pro" panose="02000506040000020004" pitchFamily="2" charset="0"/>
                <a:sym typeface="Slate Pro" panose="02000506040000020004" pitchFamily="2"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rtl="0"/>
            <a:fld id="{00000000-1234-1234-1234-123412341234}" type="slidenum">
              <a:rPr lang="en-US" smtClean="0"/>
              <a:pPr rtl="0"/>
              <a:t>‹#›</a:t>
            </a:fld>
            <a:endParaRPr lang="en-US"/>
          </a:p>
        </p:txBody>
      </p:sp>
      <p:sp>
        <p:nvSpPr>
          <p:cNvPr id="1391" name="Google Shape;1391;p90"/>
          <p:cNvSpPr txBox="1">
            <a:spLocks noGrp="1"/>
          </p:cNvSpPr>
          <p:nvPr>
            <p:ph type="ftr" idx="11"/>
          </p:nvPr>
        </p:nvSpPr>
        <p:spPr>
          <a:xfrm>
            <a:off x="4975774" y="7007077"/>
            <a:ext cx="4982456" cy="162032"/>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053">
                <a:solidFill>
                  <a:schemeClr val="dk1"/>
                </a:solidFill>
                <a:latin typeface="Slate Pro" panose="02000506040000020004" pitchFamily="2" charset="0"/>
                <a:sym typeface="Slate Pro" panose="02000506040000020004" pitchFamily="2"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Tree>
    <p:extLst>
      <p:ext uri="{BB962C8B-B14F-4D97-AF65-F5344CB8AC3E}">
        <p14:creationId xmlns:p14="http://schemas.microsoft.com/office/powerpoint/2010/main" val="34360238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wo Content no bkgd">
  <p:cSld name="Two Content no bkgd">
    <p:spTree>
      <p:nvGrpSpPr>
        <p:cNvPr id="1" name="Shape 128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241FB7-1173-0CCF-9904-04D8A065947A}"/>
              </a:ext>
            </a:extLst>
          </p:cNvPr>
          <p:cNvGraphicFramePr>
            <a:graphicFrameLocks noChangeAspect="1"/>
          </p:cNvGraphicFramePr>
          <p:nvPr userDrawn="1">
            <p:custDataLst>
              <p:tags r:id="rId1"/>
            </p:custDataLst>
            <p:extLst>
              <p:ext uri="{D42A27DB-BD31-4B8C-83A1-F6EECF244321}">
                <p14:modId xmlns:p14="http://schemas.microsoft.com/office/powerpoint/2010/main" val="3910540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88" name="Google Shape;1288;p78"/>
          <p:cNvSpPr txBox="1">
            <a:spLocks noGrp="1"/>
          </p:cNvSpPr>
          <p:nvPr>
            <p:ph type="title"/>
          </p:nvPr>
        </p:nvSpPr>
        <p:spPr>
          <a:xfrm>
            <a:off x="536063" y="702057"/>
            <a:ext cx="9622667" cy="39710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9" name="Google Shape;1289;p78"/>
          <p:cNvSpPr txBox="1">
            <a:spLocks noGrp="1"/>
          </p:cNvSpPr>
          <p:nvPr>
            <p:ph type="body" idx="1"/>
          </p:nvPr>
        </p:nvSpPr>
        <p:spPr>
          <a:xfrm>
            <a:off x="536063" y="1428538"/>
            <a:ext cx="4250627" cy="4798559"/>
          </a:xfrm>
          <a:prstGeom prst="rect">
            <a:avLst/>
          </a:prstGeom>
          <a:noFill/>
          <a:ln>
            <a:noFill/>
          </a:ln>
        </p:spPr>
        <p:txBody>
          <a:bodyPr spcFirstLastPara="1" wrap="square" lIns="0" tIns="0" rIns="0" bIns="0" anchor="t" anchorCtr="0">
            <a:noAutofit/>
          </a:bodyPr>
          <a:lstStyle>
            <a:lvl1pPr marL="401010" lvl="0" indent="-200505" algn="l">
              <a:lnSpc>
                <a:spcPct val="100000"/>
              </a:lnSpc>
              <a:spcBef>
                <a:spcPts val="877"/>
              </a:spcBef>
              <a:spcAft>
                <a:spcPts val="0"/>
              </a:spcAft>
              <a:buClr>
                <a:schemeClr val="dk2"/>
              </a:buClr>
              <a:buSzPts val="1600"/>
              <a:buNone/>
              <a:defRPr sz="1403">
                <a:latin typeface="Slate Pro" panose="02000506040000020004" pitchFamily="2" charset="0"/>
                <a:sym typeface="Slate Pro" panose="02000506040000020004" pitchFamily="2" charset="0"/>
              </a:defRPr>
            </a:lvl1pPr>
            <a:lvl2pPr marL="802020" lvl="1" indent="-200505" algn="l">
              <a:lnSpc>
                <a:spcPct val="150000"/>
              </a:lnSpc>
              <a:spcBef>
                <a:spcPts val="439"/>
              </a:spcBef>
              <a:spcAft>
                <a:spcPts val="0"/>
              </a:spcAft>
              <a:buClr>
                <a:schemeClr val="dk1"/>
              </a:buClr>
              <a:buSzPts val="1800"/>
              <a:buNone/>
              <a:defRPr/>
            </a:lvl2pPr>
            <a:lvl3pPr marL="1203030" lvl="2" indent="-300758" algn="l">
              <a:lnSpc>
                <a:spcPct val="90000"/>
              </a:lnSpc>
              <a:spcBef>
                <a:spcPts val="439"/>
              </a:spcBef>
              <a:spcAft>
                <a:spcPts val="0"/>
              </a:spcAft>
              <a:buClr>
                <a:schemeClr val="dk1"/>
              </a:buClr>
              <a:buSzPts val="1800"/>
              <a:buChar char="•"/>
              <a:defRPr/>
            </a:lvl3pPr>
            <a:lvl4pPr marL="1604040" lvl="3" indent="-300758" algn="l">
              <a:lnSpc>
                <a:spcPct val="90000"/>
              </a:lnSpc>
              <a:spcBef>
                <a:spcPts val="439"/>
              </a:spcBef>
              <a:spcAft>
                <a:spcPts val="0"/>
              </a:spcAft>
              <a:buClr>
                <a:schemeClr val="dk1"/>
              </a:buClr>
              <a:buSzPts val="1800"/>
              <a:buChar char="–"/>
              <a:defRPr/>
            </a:lvl4pPr>
            <a:lvl5pPr marL="2005051" lvl="4" indent="-300758" algn="l">
              <a:lnSpc>
                <a:spcPct val="90000"/>
              </a:lnSpc>
              <a:spcBef>
                <a:spcPts val="439"/>
              </a:spcBef>
              <a:spcAft>
                <a:spcPts val="0"/>
              </a:spcAft>
              <a:buClr>
                <a:schemeClr val="dk1"/>
              </a:buClr>
              <a:buSzPts val="1800"/>
              <a:buChar char="•"/>
              <a:defRPr/>
            </a:lvl5pPr>
            <a:lvl6pPr marL="2406061" lvl="5" indent="-300758" algn="l">
              <a:lnSpc>
                <a:spcPct val="90000"/>
              </a:lnSpc>
              <a:spcBef>
                <a:spcPts val="439"/>
              </a:spcBef>
              <a:spcAft>
                <a:spcPts val="0"/>
              </a:spcAft>
              <a:buClr>
                <a:schemeClr val="dk1"/>
              </a:buClr>
              <a:buSzPts val="1800"/>
              <a:buChar char="•"/>
              <a:defRPr/>
            </a:lvl6pPr>
            <a:lvl7pPr marL="2807071" lvl="6" indent="-300758" algn="l">
              <a:lnSpc>
                <a:spcPct val="90000"/>
              </a:lnSpc>
              <a:spcBef>
                <a:spcPts val="439"/>
              </a:spcBef>
              <a:spcAft>
                <a:spcPts val="0"/>
              </a:spcAft>
              <a:buClr>
                <a:schemeClr val="dk1"/>
              </a:buClr>
              <a:buSzPts val="1800"/>
              <a:buChar char="•"/>
              <a:defRPr/>
            </a:lvl7pPr>
            <a:lvl8pPr marL="3208081" lvl="7" indent="-300758" algn="l">
              <a:lnSpc>
                <a:spcPct val="90000"/>
              </a:lnSpc>
              <a:spcBef>
                <a:spcPts val="439"/>
              </a:spcBef>
              <a:spcAft>
                <a:spcPts val="0"/>
              </a:spcAft>
              <a:buClr>
                <a:schemeClr val="dk1"/>
              </a:buClr>
              <a:buSzPts val="1800"/>
              <a:buChar char="•"/>
              <a:defRPr/>
            </a:lvl8pPr>
            <a:lvl9pPr marL="3609091" lvl="8" indent="-300758" algn="l">
              <a:lnSpc>
                <a:spcPct val="90000"/>
              </a:lnSpc>
              <a:spcBef>
                <a:spcPts val="439"/>
              </a:spcBef>
              <a:spcAft>
                <a:spcPts val="0"/>
              </a:spcAft>
              <a:buClr>
                <a:schemeClr val="dk1"/>
              </a:buClr>
              <a:buSzPts val="1800"/>
              <a:buChar char="•"/>
              <a:defRPr/>
            </a:lvl9pPr>
          </a:lstStyle>
          <a:p>
            <a:endParaRPr/>
          </a:p>
        </p:txBody>
      </p:sp>
      <p:sp>
        <p:nvSpPr>
          <p:cNvPr id="1290" name="Google Shape;1290;p78"/>
          <p:cNvSpPr txBox="1">
            <a:spLocks noGrp="1"/>
          </p:cNvSpPr>
          <p:nvPr>
            <p:ph type="body" idx="2"/>
          </p:nvPr>
        </p:nvSpPr>
        <p:spPr>
          <a:xfrm>
            <a:off x="5552277" y="1428538"/>
            <a:ext cx="4250627" cy="4798559"/>
          </a:xfrm>
          <a:prstGeom prst="rect">
            <a:avLst/>
          </a:prstGeom>
          <a:noFill/>
          <a:ln>
            <a:noFill/>
          </a:ln>
        </p:spPr>
        <p:txBody>
          <a:bodyPr spcFirstLastPara="1" wrap="square" lIns="0" tIns="0" rIns="0" bIns="0" anchor="t" anchorCtr="0">
            <a:noAutofit/>
          </a:bodyPr>
          <a:lstStyle>
            <a:lvl1pPr marL="401010" lvl="0" indent="-200505" algn="l">
              <a:lnSpc>
                <a:spcPct val="100000"/>
              </a:lnSpc>
              <a:spcBef>
                <a:spcPts val="877"/>
              </a:spcBef>
              <a:spcAft>
                <a:spcPts val="0"/>
              </a:spcAft>
              <a:buClr>
                <a:schemeClr val="dk2"/>
              </a:buClr>
              <a:buSzPts val="1600"/>
              <a:buNone/>
              <a:defRPr sz="1403">
                <a:latin typeface="Slate Pro" panose="02000506040000020004" pitchFamily="2" charset="0"/>
                <a:sym typeface="Slate Pro" panose="02000506040000020004" pitchFamily="2" charset="0"/>
              </a:defRPr>
            </a:lvl1pPr>
            <a:lvl2pPr marL="802020" lvl="1" indent="-200505" algn="l">
              <a:lnSpc>
                <a:spcPct val="150000"/>
              </a:lnSpc>
              <a:spcBef>
                <a:spcPts val="439"/>
              </a:spcBef>
              <a:spcAft>
                <a:spcPts val="0"/>
              </a:spcAft>
              <a:buClr>
                <a:schemeClr val="dk1"/>
              </a:buClr>
              <a:buSzPts val="1800"/>
              <a:buNone/>
              <a:defRPr/>
            </a:lvl2pPr>
            <a:lvl3pPr marL="1203030" lvl="2" indent="-300758" algn="l">
              <a:lnSpc>
                <a:spcPct val="90000"/>
              </a:lnSpc>
              <a:spcBef>
                <a:spcPts val="439"/>
              </a:spcBef>
              <a:spcAft>
                <a:spcPts val="0"/>
              </a:spcAft>
              <a:buClr>
                <a:schemeClr val="dk1"/>
              </a:buClr>
              <a:buSzPts val="1800"/>
              <a:buChar char="•"/>
              <a:defRPr/>
            </a:lvl3pPr>
            <a:lvl4pPr marL="1604040" lvl="3" indent="-300758" algn="l">
              <a:lnSpc>
                <a:spcPct val="90000"/>
              </a:lnSpc>
              <a:spcBef>
                <a:spcPts val="439"/>
              </a:spcBef>
              <a:spcAft>
                <a:spcPts val="0"/>
              </a:spcAft>
              <a:buClr>
                <a:schemeClr val="dk1"/>
              </a:buClr>
              <a:buSzPts val="1800"/>
              <a:buChar char="–"/>
              <a:defRPr/>
            </a:lvl4pPr>
            <a:lvl5pPr marL="2005051" lvl="4" indent="-300758" algn="l">
              <a:lnSpc>
                <a:spcPct val="90000"/>
              </a:lnSpc>
              <a:spcBef>
                <a:spcPts val="439"/>
              </a:spcBef>
              <a:spcAft>
                <a:spcPts val="0"/>
              </a:spcAft>
              <a:buClr>
                <a:schemeClr val="dk1"/>
              </a:buClr>
              <a:buSzPts val="1800"/>
              <a:buChar char="•"/>
              <a:defRPr/>
            </a:lvl5pPr>
            <a:lvl6pPr marL="2406061" lvl="5" indent="-300758" algn="l">
              <a:lnSpc>
                <a:spcPct val="90000"/>
              </a:lnSpc>
              <a:spcBef>
                <a:spcPts val="439"/>
              </a:spcBef>
              <a:spcAft>
                <a:spcPts val="0"/>
              </a:spcAft>
              <a:buClr>
                <a:schemeClr val="dk1"/>
              </a:buClr>
              <a:buSzPts val="1800"/>
              <a:buChar char="•"/>
              <a:defRPr/>
            </a:lvl6pPr>
            <a:lvl7pPr marL="2807071" lvl="6" indent="-300758" algn="l">
              <a:lnSpc>
                <a:spcPct val="90000"/>
              </a:lnSpc>
              <a:spcBef>
                <a:spcPts val="439"/>
              </a:spcBef>
              <a:spcAft>
                <a:spcPts val="0"/>
              </a:spcAft>
              <a:buClr>
                <a:schemeClr val="dk1"/>
              </a:buClr>
              <a:buSzPts val="1800"/>
              <a:buChar char="•"/>
              <a:defRPr/>
            </a:lvl7pPr>
            <a:lvl8pPr marL="3208081" lvl="7" indent="-300758" algn="l">
              <a:lnSpc>
                <a:spcPct val="90000"/>
              </a:lnSpc>
              <a:spcBef>
                <a:spcPts val="439"/>
              </a:spcBef>
              <a:spcAft>
                <a:spcPts val="0"/>
              </a:spcAft>
              <a:buClr>
                <a:schemeClr val="dk1"/>
              </a:buClr>
              <a:buSzPts val="1800"/>
              <a:buChar char="•"/>
              <a:defRPr/>
            </a:lvl8pPr>
            <a:lvl9pPr marL="3609091" lvl="8" indent="-300758" algn="l">
              <a:lnSpc>
                <a:spcPct val="90000"/>
              </a:lnSpc>
              <a:spcBef>
                <a:spcPts val="439"/>
              </a:spcBef>
              <a:spcAft>
                <a:spcPts val="0"/>
              </a:spcAft>
              <a:buClr>
                <a:schemeClr val="dk1"/>
              </a:buClr>
              <a:buSzPts val="1800"/>
              <a:buChar char="•"/>
              <a:defRPr/>
            </a:lvl9pPr>
          </a:lstStyle>
          <a:p>
            <a:endParaRPr/>
          </a:p>
        </p:txBody>
      </p:sp>
      <p:sp>
        <p:nvSpPr>
          <p:cNvPr id="1291" name="Google Shape;1291;p78"/>
          <p:cNvSpPr txBox="1">
            <a:spLocks noGrp="1"/>
          </p:cNvSpPr>
          <p:nvPr>
            <p:ph type="sldNum" idx="12"/>
          </p:nvPr>
        </p:nvSpPr>
        <p:spPr>
          <a:xfrm>
            <a:off x="10051276" y="6986270"/>
            <a:ext cx="274018" cy="203646"/>
          </a:xfrm>
          <a:prstGeom prst="rect">
            <a:avLst/>
          </a:prstGeom>
          <a:noFill/>
          <a:ln>
            <a:noFill/>
          </a:ln>
        </p:spPr>
        <p:txBody>
          <a:bodyPr spcFirstLastPara="1" wrap="square" lIns="0" tIns="0" rIns="0" bIns="0" anchor="ctr" anchorCtr="0">
            <a:noAutofit/>
          </a:bodyPr>
          <a:lstStyle>
            <a:lvl1pPr marL="0" lvl="0" indent="0" algn="l">
              <a:spcBef>
                <a:spcPts val="0"/>
              </a:spcBef>
              <a:buNone/>
              <a:defRPr>
                <a:latin typeface="Slate Pro" panose="02000506040000020004" pitchFamily="2" charset="0"/>
                <a:sym typeface="Slate Pro" panose="02000506040000020004" pitchFamily="2"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rtl="0"/>
            <a:fld id="{00000000-1234-1234-1234-123412341234}" type="slidenum">
              <a:rPr lang="en-US" smtClean="0"/>
              <a:pPr rtl="0"/>
              <a:t>‹#›</a:t>
            </a:fld>
            <a:endParaRPr lang="en-US"/>
          </a:p>
        </p:txBody>
      </p:sp>
      <p:sp>
        <p:nvSpPr>
          <p:cNvPr id="1292" name="Google Shape;1292;p78"/>
          <p:cNvSpPr txBox="1">
            <a:spLocks noGrp="1"/>
          </p:cNvSpPr>
          <p:nvPr>
            <p:ph type="ftr" idx="11"/>
          </p:nvPr>
        </p:nvSpPr>
        <p:spPr>
          <a:xfrm>
            <a:off x="4975774" y="7007077"/>
            <a:ext cx="4982456" cy="162032"/>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053">
                <a:solidFill>
                  <a:schemeClr val="dk1"/>
                </a:solidFill>
                <a:latin typeface="Slate Pro" panose="02000506040000020004" pitchFamily="2" charset="0"/>
                <a:sym typeface="Slate Pro" panose="02000506040000020004" pitchFamily="2"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grpSp>
        <p:nvGrpSpPr>
          <p:cNvPr id="1293" name="Google Shape;1293;p78"/>
          <p:cNvGrpSpPr/>
          <p:nvPr/>
        </p:nvGrpSpPr>
        <p:grpSpPr>
          <a:xfrm>
            <a:off x="558872" y="6768421"/>
            <a:ext cx="729348" cy="387622"/>
            <a:chOff x="479425" y="5372100"/>
            <a:chExt cx="1273175" cy="538163"/>
          </a:xfrm>
        </p:grpSpPr>
        <p:sp>
          <p:nvSpPr>
            <p:cNvPr id="1294" name="Google Shape;1294;p78"/>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Slate Pro" panose="02000506040000020004" pitchFamily="2" charset="0"/>
                <a:ea typeface="Arial"/>
                <a:cs typeface="Arial"/>
                <a:sym typeface="Slate Pro" panose="02000506040000020004" pitchFamily="2" charset="0"/>
              </a:endParaRPr>
            </a:p>
          </p:txBody>
        </p:sp>
        <p:sp>
          <p:nvSpPr>
            <p:cNvPr id="1295" name="Google Shape;1295;p78"/>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Slate Pro" panose="02000506040000020004" pitchFamily="2" charset="0"/>
                <a:ea typeface="Arial"/>
                <a:cs typeface="Arial"/>
                <a:sym typeface="Slate Pro" panose="02000506040000020004" pitchFamily="2" charset="0"/>
              </a:endParaRPr>
            </a:p>
          </p:txBody>
        </p:sp>
        <p:sp>
          <p:nvSpPr>
            <p:cNvPr id="1296" name="Google Shape;1296;p78"/>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Slate Pro" panose="02000506040000020004" pitchFamily="2" charset="0"/>
                <a:ea typeface="Arial"/>
                <a:cs typeface="Arial"/>
                <a:sym typeface="Slate Pro" panose="02000506040000020004" pitchFamily="2" charset="0"/>
              </a:endParaRPr>
            </a:p>
          </p:txBody>
        </p:sp>
      </p:grpSp>
      <p:cxnSp>
        <p:nvCxnSpPr>
          <p:cNvPr id="1297" name="Google Shape;1297;p78"/>
          <p:cNvCxnSpPr/>
          <p:nvPr/>
        </p:nvCxnSpPr>
        <p:spPr>
          <a:xfrm>
            <a:off x="394927" y="-2100"/>
            <a:ext cx="0" cy="1020984"/>
          </a:xfrm>
          <a:prstGeom prst="straightConnector1">
            <a:avLst/>
          </a:prstGeom>
          <a:noFill/>
          <a:ln w="63500" cap="flat" cmpd="sng">
            <a:solidFill>
              <a:schemeClr val="accent1"/>
            </a:solidFill>
            <a:prstDash val="solid"/>
            <a:miter lim="800000"/>
            <a:headEnd type="none" w="sm" len="sm"/>
            <a:tailEnd type="none" w="sm" len="sm"/>
          </a:ln>
        </p:spPr>
      </p:cxnSp>
    </p:spTree>
    <p:extLst>
      <p:ext uri="{BB962C8B-B14F-4D97-AF65-F5344CB8AC3E}">
        <p14:creationId xmlns:p14="http://schemas.microsoft.com/office/powerpoint/2010/main" val="3364586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01439661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34670" y="1853949"/>
            <a:ext cx="6416039"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34670" y="2762541"/>
            <a:ext cx="6416039"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7281130" y="1853949"/>
            <a:ext cx="2877601"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7281130" y="2762541"/>
            <a:ext cx="2877601"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9567161"/>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250338967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33741" y="1853949"/>
            <a:ext cx="4546088" cy="908592"/>
          </a:xfrm>
        </p:spPr>
        <p:txBody>
          <a:bodyPr anchor="b">
            <a:normAutofit/>
          </a:bodyPr>
          <a:lstStyle>
            <a:lvl1pPr marL="0" indent="0">
              <a:buNone/>
              <a:defRPr sz="1754"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34670" y="2762541"/>
            <a:ext cx="4545159" cy="4063282"/>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5613570" y="1853949"/>
            <a:ext cx="4546088" cy="908592"/>
          </a:xfrm>
        </p:spPr>
        <p:txBody>
          <a:bodyPr anchor="b">
            <a:normAutofit/>
          </a:bodyPr>
          <a:lstStyle>
            <a:lvl1pPr marL="0" indent="0">
              <a:buNone/>
              <a:defRPr sz="1754"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5613570" y="2762541"/>
            <a:ext cx="4546088" cy="4063282"/>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2549115598"/>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302050518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34670" y="1853949"/>
            <a:ext cx="2877602"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34670" y="2762541"/>
            <a:ext cx="2877602"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7281130" y="1853949"/>
            <a:ext cx="2877601"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7281130" y="2762541"/>
            <a:ext cx="2877601"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3907899" y="1853949"/>
            <a:ext cx="2877602"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3907899" y="2762541"/>
            <a:ext cx="2877602" cy="4063282"/>
          </a:xfrm>
        </p:spPr>
        <p:txBody>
          <a:bodyPr>
            <a:normAutofit/>
          </a:bodyPr>
          <a:lstStyle>
            <a:lvl1pPr>
              <a:defRPr sz="1053">
                <a:latin typeface="Slate Pro" panose="02000506040000020004" pitchFamily="2" charset="0"/>
                <a:sym typeface="Slate Pro" panose="02000506040000020004" pitchFamily="2" charset="0"/>
              </a:defRPr>
            </a:lvl1pPr>
            <a:lvl2pPr>
              <a:defRPr sz="965">
                <a:latin typeface="Slate Pro" panose="02000506040000020004" pitchFamily="2" charset="0"/>
                <a:sym typeface="Slate Pro" panose="02000506040000020004" pitchFamily="2" charset="0"/>
              </a:defRPr>
            </a:lvl2pPr>
            <a:lvl3pPr>
              <a:defRPr sz="921">
                <a:latin typeface="Slate Pro" panose="02000506040000020004" pitchFamily="2" charset="0"/>
                <a:sym typeface="Slate Pro" panose="02000506040000020004" pitchFamily="2" charset="0"/>
              </a:defRPr>
            </a:lvl3pPr>
            <a:lvl4pPr>
              <a:defRPr sz="877">
                <a:latin typeface="Slate Pro" panose="02000506040000020004" pitchFamily="2" charset="0"/>
                <a:sym typeface="Slate Pro" panose="02000506040000020004" pitchFamily="2" charset="0"/>
              </a:defRPr>
            </a:lvl4pPr>
            <a:lvl5pPr>
              <a:defRPr sz="877">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8221928"/>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774176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543888" y="1785383"/>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543888" y="2768669"/>
            <a:ext cx="2249355"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2970081" y="1785383"/>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2970081" y="2768669"/>
            <a:ext cx="2249354"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7900158" y="1779255"/>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7900158" y="2768669"/>
            <a:ext cx="2249354"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5468985" y="1779255"/>
            <a:ext cx="2249356" cy="908592"/>
          </a:xfrm>
        </p:spPr>
        <p:txBody>
          <a:bodyPr anchor="b">
            <a:normAutofit/>
          </a:bodyPr>
          <a:lstStyle>
            <a:lvl1pPr marL="0" indent="0">
              <a:buNone/>
              <a:defRPr sz="1228" b="1">
                <a:latin typeface="Slate Pro" panose="02000506040000020004" pitchFamily="2" charset="0"/>
                <a:sym typeface="Slate Pro" panose="02000506040000020004" pitchFamily="2" charset="0"/>
              </a:defRPr>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5473964" y="2768669"/>
            <a:ext cx="2249354" cy="4063282"/>
          </a:xfrm>
        </p:spPr>
        <p:txBody>
          <a:bodyPr>
            <a:normAutofit/>
          </a:bodyPr>
          <a:lstStyle>
            <a:lvl1pPr>
              <a:defRPr sz="1228">
                <a:latin typeface="Slate Pro" panose="02000506040000020004" pitchFamily="2" charset="0"/>
                <a:sym typeface="Slate Pro" panose="02000506040000020004" pitchFamily="2" charset="0"/>
              </a:defRPr>
            </a:lvl1pPr>
            <a:lvl2pPr>
              <a:defRPr sz="1053">
                <a:latin typeface="Slate Pro" panose="02000506040000020004" pitchFamily="2" charset="0"/>
                <a:sym typeface="Slate Pro" panose="02000506040000020004" pitchFamily="2" charset="0"/>
              </a:defRPr>
            </a:lvl2pPr>
            <a:lvl3pPr>
              <a:defRPr sz="965">
                <a:latin typeface="Slate Pro" panose="02000506040000020004" pitchFamily="2" charset="0"/>
                <a:sym typeface="Slate Pro" panose="02000506040000020004" pitchFamily="2" charset="0"/>
              </a:defRPr>
            </a:lvl3pPr>
            <a:lvl4pPr>
              <a:defRPr sz="921">
                <a:latin typeface="Slate Pro" panose="02000506040000020004" pitchFamily="2" charset="0"/>
                <a:sym typeface="Slate Pro" panose="02000506040000020004" pitchFamily="2" charset="0"/>
              </a:defRPr>
            </a:lvl4pPr>
            <a:lvl5pPr>
              <a:defRPr sz="921">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452821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tags" Target="../tags/tag6.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image" Target="../media/image4.pn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theme" Target="../theme/theme2.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image" Target="../media/image3.emf"/><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image" Target="../media/image4.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image" Target="../media/image3.emf"/><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oleObject" Target="../embeddings/oleObject33.bin"/><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ags" Target="../tags/tag3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theme" Target="../theme/theme3.xml"/><Relationship Id="rId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9D9FF8-D4DD-5155-C6B3-856995690708}"/>
              </a:ext>
            </a:extLst>
          </p:cNvPr>
          <p:cNvGraphicFramePr>
            <a:graphicFrameLocks noChangeAspect="1"/>
          </p:cNvGraphicFramePr>
          <p:nvPr userDrawn="1">
            <p:custDataLst>
              <p:tags r:id="rId5"/>
            </p:custDataLst>
            <p:extLst>
              <p:ext uri="{D42A27DB-BD31-4B8C-83A1-F6EECF244321}">
                <p14:modId xmlns:p14="http://schemas.microsoft.com/office/powerpoint/2010/main" val="1312754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Object 6" hidden="1">
                        <a:extLst>
                          <a:ext uri="{FF2B5EF4-FFF2-40B4-BE49-F238E27FC236}">
                            <a16:creationId xmlns:a16="http://schemas.microsoft.com/office/drawing/2014/main" id="{119D9FF8-D4DD-5155-C6B3-8569956907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bg object 16"/>
          <p:cNvSpPr/>
          <p:nvPr/>
        </p:nvSpPr>
        <p:spPr>
          <a:xfrm>
            <a:off x="0" y="7065010"/>
            <a:ext cx="10692130" cy="495300"/>
          </a:xfrm>
          <a:custGeom>
            <a:avLst/>
            <a:gdLst/>
            <a:ahLst/>
            <a:cxnLst/>
            <a:rect l="l" t="t" r="r" b="b"/>
            <a:pathLst>
              <a:path w="10692130" h="495300">
                <a:moveTo>
                  <a:pt x="10692003" y="0"/>
                </a:moveTo>
                <a:lnTo>
                  <a:pt x="0" y="0"/>
                </a:lnTo>
                <a:lnTo>
                  <a:pt x="0" y="494995"/>
                </a:lnTo>
                <a:lnTo>
                  <a:pt x="10692003" y="494995"/>
                </a:lnTo>
                <a:lnTo>
                  <a:pt x="10692003" y="0"/>
                </a:lnTo>
                <a:close/>
              </a:path>
            </a:pathLst>
          </a:custGeom>
          <a:solidFill>
            <a:srgbClr val="38639F"/>
          </a:solidFill>
        </p:spPr>
        <p:txBody>
          <a:bodyPr wrap="square" lIns="0" tIns="0" rIns="0" bIns="0" rtlCol="0"/>
          <a:lstStyle/>
          <a:p>
            <a:endParaRPr>
              <a:solidFill>
                <a:schemeClr val="accent1">
                  <a:lumMod val="20000"/>
                  <a:lumOff val="80000"/>
                </a:schemeClr>
              </a:solidFill>
              <a:latin typeface="Slate Pro" panose="02000506040000020004" pitchFamily="2" charset="0"/>
              <a:sym typeface="Slate Pro" panose="02000506040000020004" pitchFamily="2" charset="0"/>
            </a:endParaRPr>
          </a:p>
        </p:txBody>
      </p:sp>
      <p:sp>
        <p:nvSpPr>
          <p:cNvPr id="2" name="Holder 2"/>
          <p:cNvSpPr>
            <a:spLocks noGrp="1"/>
          </p:cNvSpPr>
          <p:nvPr>
            <p:ph type="title"/>
          </p:nvPr>
        </p:nvSpPr>
        <p:spPr>
          <a:xfrm>
            <a:off x="500299" y="402872"/>
            <a:ext cx="9692800" cy="566419"/>
          </a:xfrm>
          <a:prstGeom prst="rect">
            <a:avLst/>
          </a:prstGeom>
        </p:spPr>
        <p:txBody>
          <a:bodyPr wrap="square" lIns="0" tIns="0" rIns="0" bIns="0">
            <a:spAutoFit/>
          </a:bodyPr>
          <a:lstStyle>
            <a:lvl1pPr>
              <a:defRPr sz="3550" b="1" i="0">
                <a:solidFill>
                  <a:srgbClr val="DA291C"/>
                </a:solidFill>
                <a:latin typeface="Arial"/>
                <a:cs typeface="Arial"/>
              </a:defRPr>
            </a:lvl1pPr>
          </a:lstStyle>
          <a:p>
            <a:endParaRPr dirty="0"/>
          </a:p>
        </p:txBody>
      </p:sp>
      <p:sp>
        <p:nvSpPr>
          <p:cNvPr id="3" name="Holder 3"/>
          <p:cNvSpPr>
            <a:spLocks noGrp="1"/>
          </p:cNvSpPr>
          <p:nvPr>
            <p:ph type="body" idx="1"/>
          </p:nvPr>
        </p:nvSpPr>
        <p:spPr>
          <a:xfrm>
            <a:off x="530999" y="1670827"/>
            <a:ext cx="963485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9956610" y="7265289"/>
            <a:ext cx="243204" cy="143052"/>
          </a:xfrm>
          <a:prstGeom prst="rect">
            <a:avLst/>
          </a:prstGeom>
        </p:spPr>
        <p:txBody>
          <a:bodyPr wrap="square" lIns="0" tIns="0" rIns="0" bIns="0">
            <a:spAutoFit/>
          </a:bodyPr>
          <a:lstStyle>
            <a:lvl1pPr>
              <a:defRPr sz="1100" b="1" i="0">
                <a:solidFill>
                  <a:schemeClr val="bg1"/>
                </a:solidFill>
                <a:latin typeface="Slate Pro" panose="02000506040000020004" pitchFamily="2" charset="0"/>
                <a:cs typeface="Arial"/>
                <a:sym typeface="Slate Pro" panose="02000506040000020004" pitchFamily="2" charset="0"/>
              </a:defRPr>
            </a:lvl1pPr>
          </a:lstStyle>
          <a:p>
            <a:pPr marL="38100">
              <a:lnSpc>
                <a:spcPts val="1115"/>
              </a:lnSpc>
            </a:pPr>
            <a:fld id="{81D60167-4931-47E6-BA6A-407CBD079E47}" type="slidenum">
              <a:rPr lang="en-US" spc="-25" smtClean="0"/>
              <a:pPr marL="38100">
                <a:lnSpc>
                  <a:spcPts val="1115"/>
                </a:lnSpc>
              </a:pPr>
              <a:t>‹#›</a:t>
            </a:fld>
            <a:endParaRPr lang="en-US" spc="-25"/>
          </a:p>
        </p:txBody>
      </p:sp>
      <p:sp>
        <p:nvSpPr>
          <p:cNvPr id="5" name="Holder 4">
            <a:extLst>
              <a:ext uri="{FF2B5EF4-FFF2-40B4-BE49-F238E27FC236}">
                <a16:creationId xmlns:a16="http://schemas.microsoft.com/office/drawing/2014/main" id="{E12765C5-0228-1A86-AA61-AB38E4A6B8D8}"/>
              </a:ext>
            </a:extLst>
          </p:cNvPr>
          <p:cNvSpPr>
            <a:spLocks noGrp="1"/>
          </p:cNvSpPr>
          <p:nvPr>
            <p:ph type="ftr" sz="quarter" idx="3"/>
          </p:nvPr>
        </p:nvSpPr>
        <p:spPr>
          <a:xfrm>
            <a:off x="7167026" y="7274483"/>
            <a:ext cx="2647950" cy="115416"/>
          </a:xfrm>
          <a:prstGeom prst="rect">
            <a:avLst/>
          </a:prstGeom>
        </p:spPr>
        <p:txBody>
          <a:bodyPr lIns="0" tIns="0" rIns="0" bIns="0"/>
          <a:lstStyle>
            <a:lvl1pPr algn="r">
              <a:defRPr sz="900" b="0" i="0">
                <a:solidFill>
                  <a:schemeClr val="bg1"/>
                </a:solidFill>
                <a:latin typeface="Avenir Next LT Pro" panose="020B0504020202020204"/>
                <a:cs typeface="Arial"/>
              </a:defRPr>
            </a:lvl1pPr>
          </a:lstStyle>
          <a:p>
            <a:pPr marL="12700">
              <a:lnSpc>
                <a:spcPts val="930"/>
              </a:lnSpc>
            </a:pPr>
            <a:r>
              <a:rPr lang="en-US">
                <a:latin typeface="Slate Pro" panose="02000506040000020004" pitchFamily="2" charset="0"/>
              </a:rPr>
              <a:t>ACME </a:t>
            </a:r>
            <a:r>
              <a:rPr lang="en-US" spc="-40">
                <a:latin typeface="Slate Pro" panose="02000506040000020004" pitchFamily="2" charset="0"/>
              </a:rPr>
              <a:t>Partner PROGRAM GUIDE</a:t>
            </a:r>
            <a:endParaRPr lang="en-US" spc="-10">
              <a:latin typeface="Slate Pro" panose="02000506040000020004" pitchFamily="2" charset="0"/>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xStyles>
    <p:titleStyle>
      <a:lvl1pPr>
        <a:defRPr>
          <a:latin typeface="Slate Pro" panose="02000506040000020004" pitchFamily="2" charset="0"/>
          <a:ea typeface="+mj-ea"/>
          <a:cs typeface="+mj-cs"/>
          <a:sym typeface="Slate Pro" panose="02000506040000020004" pitchFamily="2" charset="0"/>
        </a:defRPr>
      </a:lvl1pPr>
    </p:titleStyle>
    <p:bodyStyle>
      <a:lvl1pPr marL="0">
        <a:defRPr>
          <a:latin typeface="Slate Pro" panose="02000506040000020004" pitchFamily="2" charset="0"/>
          <a:ea typeface="+mn-ea"/>
          <a:cs typeface="+mn-cs"/>
          <a:sym typeface="Slate Pro" panose="02000506040000020004" pitchFamily="2"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9"/>
            </p:custDataLst>
            <p:extLst>
              <p:ext uri="{D42A27DB-BD31-4B8C-83A1-F6EECF244321}">
                <p14:modId xmlns:p14="http://schemas.microsoft.com/office/powerpoint/2010/main" val="309034149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0" imgW="410" imgH="409" progId="TCLayout.ActiveDocument.1">
                  <p:embed/>
                </p:oleObj>
              </mc:Choice>
              <mc:Fallback>
                <p:oleObj name="think-cell Slide" r:id="rId30"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1"/>
                      <a:stretch>
                        <a:fillRect/>
                      </a:stretch>
                    </p:blipFill>
                    <p:spPr>
                      <a:xfrm>
                        <a:off x="1393" y="1751"/>
                        <a:ext cx="1393" cy="175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534670" y="41453"/>
            <a:ext cx="9614842" cy="846771"/>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534670" y="1773359"/>
            <a:ext cx="9614842" cy="50332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05545" y="-2100"/>
            <a:ext cx="0" cy="933877"/>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9882616" y="7129311"/>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tx1"/>
                </a:solidFill>
                <a:latin typeface="Slate Pro" panose="02000506040000020004" pitchFamily="2" charset="0"/>
                <a:sym typeface="Slate Pro" panose="02000506040000020004" pitchFamily="2" charset="0"/>
              </a:rPr>
              <a:pPr algn="r"/>
              <a:t>‹#›</a:t>
            </a:fld>
            <a:endParaRPr lang="en-US" sz="965"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543889" y="7058816"/>
            <a:ext cx="543889" cy="289495"/>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338700" y="7002238"/>
            <a:ext cx="5612010" cy="402652"/>
          </a:xfrm>
          <a:prstGeom prst="rect">
            <a:avLst/>
          </a:prstGeom>
        </p:spPr>
        <p:txBody>
          <a:bodyPr vert="horz" lIns="91440" tIns="45720" rIns="91440" bIns="45720" rtlCol="0" anchor="ctr"/>
          <a:lstStyle>
            <a:lvl1pPr algn="l">
              <a:defRPr sz="702" i="1">
                <a:solidFill>
                  <a:schemeClr val="tx1"/>
                </a:solidFill>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32598709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Lst>
  <p:hf sldNum="0" hdr="0" ftr="0" dt="0"/>
  <p:txStyles>
    <p:titleStyle>
      <a:lvl1pPr algn="l" defTabSz="802020" rtl="0" eaLnBrk="1" latinLnBrk="0" hangingPunct="1">
        <a:lnSpc>
          <a:spcPct val="90000"/>
        </a:lnSpc>
        <a:spcBef>
          <a:spcPct val="0"/>
        </a:spcBef>
        <a:buNone/>
        <a:defRPr sz="2105"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802020" rtl="0" eaLnBrk="1" latinLnBrk="0" hangingPunct="1">
        <a:lnSpc>
          <a:spcPct val="90000"/>
        </a:lnSpc>
        <a:spcBef>
          <a:spcPts val="877"/>
        </a:spcBef>
        <a:buFont typeface="Arial" panose="020B0604020202020204" pitchFamily="34" charset="0"/>
        <a:buNone/>
        <a:defRPr sz="1403" kern="1200">
          <a:solidFill>
            <a:schemeClr val="tx1"/>
          </a:solidFill>
          <a:latin typeface="Slate Pro" panose="02000506040000020004" pitchFamily="2" charset="0"/>
          <a:ea typeface="+mn-ea"/>
          <a:cs typeface="+mn-cs"/>
          <a:sym typeface="Slate Pro" panose="02000506040000020004" pitchFamily="2" charset="0"/>
        </a:defRPr>
      </a:lvl1pPr>
      <a:lvl2pPr marL="203290" indent="-203290" algn="l" defTabSz="802020" rtl="0" eaLnBrk="1" latinLnBrk="0" hangingPunct="1">
        <a:lnSpc>
          <a:spcPct val="90000"/>
        </a:lnSpc>
        <a:spcBef>
          <a:spcPts val="439"/>
        </a:spcBef>
        <a:buFont typeface="Arial" panose="020B0604020202020204" pitchFamily="34" charset="0"/>
        <a:buChar char="•"/>
        <a:defRPr sz="1228" kern="1200">
          <a:solidFill>
            <a:schemeClr val="tx1"/>
          </a:solidFill>
          <a:latin typeface="Slate Pro" panose="02000506040000020004" pitchFamily="2" charset="0"/>
          <a:ea typeface="+mn-ea"/>
          <a:cs typeface="+mn-cs"/>
          <a:sym typeface="Slate Pro" panose="02000506040000020004" pitchFamily="2" charset="0"/>
        </a:defRPr>
      </a:lvl2pPr>
      <a:lvl3pPr marL="405188" indent="-201898" algn="l" defTabSz="802020" rtl="0" eaLnBrk="1" latinLnBrk="0" hangingPunct="1">
        <a:lnSpc>
          <a:spcPct val="90000"/>
        </a:lnSpc>
        <a:spcBef>
          <a:spcPts val="439"/>
        </a:spcBef>
        <a:buFont typeface="Courier New" panose="02070309020205020404" pitchFamily="49" charset="0"/>
        <a:buChar char="o"/>
        <a:defRPr sz="1053" kern="1200">
          <a:solidFill>
            <a:schemeClr val="tx1"/>
          </a:solidFill>
          <a:latin typeface="Slate Pro" panose="02000506040000020004" pitchFamily="2" charset="0"/>
          <a:ea typeface="+mn-ea"/>
          <a:cs typeface="+mn-cs"/>
          <a:sym typeface="Slate Pro" panose="02000506040000020004" pitchFamily="2" charset="0"/>
        </a:defRPr>
      </a:lvl3pPr>
      <a:lvl4pPr marL="598730" indent="-193544" algn="l" defTabSz="802020" rtl="0" eaLnBrk="1" latinLnBrk="0" hangingPunct="1">
        <a:lnSpc>
          <a:spcPct val="90000"/>
        </a:lnSpc>
        <a:spcBef>
          <a:spcPts val="439"/>
        </a:spcBef>
        <a:buFont typeface="Avenir Next LT Pro" panose="020B0504020202020204" pitchFamily="34" charset="0"/>
        <a:buChar char="−"/>
        <a:defRPr sz="965" kern="1200">
          <a:solidFill>
            <a:schemeClr val="tx1"/>
          </a:solidFill>
          <a:latin typeface="Slate Pro" panose="02000506040000020004" pitchFamily="2" charset="0"/>
          <a:ea typeface="+mn-ea"/>
          <a:cs typeface="+mn-cs"/>
          <a:sym typeface="Slate Pro" panose="02000506040000020004" pitchFamily="2" charset="0"/>
        </a:defRPr>
      </a:lvl4pPr>
      <a:lvl5pPr marL="756072" indent="-157341" algn="l" defTabSz="802020" rtl="0" eaLnBrk="1" latinLnBrk="0" hangingPunct="1">
        <a:lnSpc>
          <a:spcPct val="90000"/>
        </a:lnSpc>
        <a:spcBef>
          <a:spcPts val="439"/>
        </a:spcBef>
        <a:buFont typeface="Arial" panose="020B0604020202020204" pitchFamily="34" charset="0"/>
        <a:buChar char="•"/>
        <a:defRPr sz="965" kern="1200">
          <a:solidFill>
            <a:schemeClr val="tx1"/>
          </a:solidFill>
          <a:latin typeface="Slate Pro" panose="02000506040000020004" pitchFamily="2" charset="0"/>
          <a:ea typeface="+mn-ea"/>
          <a:cs typeface="+mn-cs"/>
          <a:sym typeface="Slate Pro" panose="02000506040000020004" pitchFamily="2" charset="0"/>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31"/>
            </p:custDataLst>
            <p:extLst>
              <p:ext uri="{D42A27DB-BD31-4B8C-83A1-F6EECF244321}">
                <p14:modId xmlns:p14="http://schemas.microsoft.com/office/powerpoint/2010/main" val="107474409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2" imgW="410" imgH="409" progId="TCLayout.ActiveDocument.1">
                  <p:embed/>
                </p:oleObj>
              </mc:Choice>
              <mc:Fallback>
                <p:oleObj name="think-cell Slide" r:id="rId32"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3"/>
                      <a:stretch>
                        <a:fillRect/>
                      </a:stretch>
                    </p:blipFill>
                    <p:spPr>
                      <a:xfrm>
                        <a:off x="1393" y="1751"/>
                        <a:ext cx="1393" cy="175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534670" y="41453"/>
            <a:ext cx="9614842" cy="846771"/>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534670" y="1773359"/>
            <a:ext cx="9614842" cy="50332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05545" y="-2100"/>
            <a:ext cx="0" cy="933877"/>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9882616" y="7129311"/>
            <a:ext cx="266896" cy="148502"/>
          </a:xfrm>
          <a:prstGeom prst="rect">
            <a:avLst/>
          </a:prstGeom>
          <a:noFill/>
        </p:spPr>
        <p:txBody>
          <a:bodyPr wrap="square" lIns="0" tIns="0" rIns="0" bIns="0" rtlCol="0" anchor="ctr">
            <a:spAutoFit/>
          </a:bodyPr>
          <a:lstStyle/>
          <a:p>
            <a:pPr algn="r"/>
            <a:fld id="{DA4F3246-57E6-4D23-B4C0-B33CEEC38083}" type="slidenum">
              <a:rPr lang="en-US" sz="965" smtClean="0">
                <a:solidFill>
                  <a:schemeClr val="tx1"/>
                </a:solidFill>
                <a:latin typeface="Slate Pro" panose="02000506040000020004" pitchFamily="2" charset="0"/>
                <a:sym typeface="Slate Pro" panose="02000506040000020004" pitchFamily="2" charset="0"/>
              </a:rPr>
              <a:pPr algn="r"/>
              <a:t>‹#›</a:t>
            </a:fld>
            <a:endParaRPr lang="en-US" sz="965"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543889" y="7058816"/>
            <a:ext cx="543889" cy="289495"/>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338700" y="7002238"/>
            <a:ext cx="5612010" cy="402652"/>
          </a:xfrm>
          <a:prstGeom prst="rect">
            <a:avLst/>
          </a:prstGeom>
        </p:spPr>
        <p:txBody>
          <a:bodyPr vert="horz" lIns="91440" tIns="45720" rIns="91440" bIns="45720" rtlCol="0" anchor="ctr"/>
          <a:lstStyle>
            <a:lvl1pPr algn="l">
              <a:defRPr sz="702" i="1">
                <a:solidFill>
                  <a:schemeClr val="tx1"/>
                </a:solidFill>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013926" y="7385634"/>
            <a:ext cx="4135586" cy="80920"/>
          </a:xfrm>
          <a:prstGeom prst="rect">
            <a:avLst/>
          </a:prstGeom>
          <a:noFill/>
        </p:spPr>
        <p:txBody>
          <a:bodyPr wrap="square" lIns="0" tIns="0" rIns="0" bIns="0" rtlCol="0">
            <a:spAutoFit/>
          </a:bodyPr>
          <a:lstStyle/>
          <a:p>
            <a:pPr algn="r"/>
            <a:r>
              <a:rPr lang="en-US" sz="526"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0766822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Lst>
  <p:hf sldNum="0" hdr="0" ftr="0" dt="0"/>
  <p:txStyles>
    <p:titleStyle>
      <a:lvl1pPr algn="l" defTabSz="802020" rtl="0" eaLnBrk="1" latinLnBrk="0" hangingPunct="1">
        <a:lnSpc>
          <a:spcPct val="90000"/>
        </a:lnSpc>
        <a:spcBef>
          <a:spcPct val="0"/>
        </a:spcBef>
        <a:buNone/>
        <a:defRPr sz="2105"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802020" rtl="0" eaLnBrk="1" latinLnBrk="0" hangingPunct="1">
        <a:lnSpc>
          <a:spcPct val="90000"/>
        </a:lnSpc>
        <a:spcBef>
          <a:spcPts val="877"/>
        </a:spcBef>
        <a:buFont typeface="Arial" panose="020B0604020202020204" pitchFamily="34" charset="0"/>
        <a:buNone/>
        <a:defRPr sz="1403" kern="1200">
          <a:solidFill>
            <a:schemeClr val="tx1"/>
          </a:solidFill>
          <a:latin typeface="Slate Pro" panose="02000506040000020004" pitchFamily="2" charset="0"/>
          <a:ea typeface="+mn-ea"/>
          <a:cs typeface="+mn-cs"/>
          <a:sym typeface="Slate Pro" panose="02000506040000020004" pitchFamily="2" charset="0"/>
        </a:defRPr>
      </a:lvl1pPr>
      <a:lvl2pPr marL="203290" indent="-203290" algn="l" defTabSz="802020" rtl="0" eaLnBrk="1" latinLnBrk="0" hangingPunct="1">
        <a:lnSpc>
          <a:spcPct val="90000"/>
        </a:lnSpc>
        <a:spcBef>
          <a:spcPts val="439"/>
        </a:spcBef>
        <a:buFont typeface="Arial" panose="020B0604020202020204" pitchFamily="34" charset="0"/>
        <a:buChar char="•"/>
        <a:defRPr sz="1228" kern="1200">
          <a:solidFill>
            <a:schemeClr val="tx1"/>
          </a:solidFill>
          <a:latin typeface="Slate Pro" panose="02000506040000020004" pitchFamily="2" charset="0"/>
          <a:ea typeface="+mn-ea"/>
          <a:cs typeface="+mn-cs"/>
          <a:sym typeface="Slate Pro" panose="02000506040000020004" pitchFamily="2" charset="0"/>
        </a:defRPr>
      </a:lvl2pPr>
      <a:lvl3pPr marL="405188" indent="-201898" algn="l" defTabSz="802020" rtl="0" eaLnBrk="1" latinLnBrk="0" hangingPunct="1">
        <a:lnSpc>
          <a:spcPct val="90000"/>
        </a:lnSpc>
        <a:spcBef>
          <a:spcPts val="439"/>
        </a:spcBef>
        <a:buFont typeface="Courier New" panose="02070309020205020404" pitchFamily="49" charset="0"/>
        <a:buChar char="o"/>
        <a:defRPr sz="1053" kern="1200">
          <a:solidFill>
            <a:schemeClr val="tx1"/>
          </a:solidFill>
          <a:latin typeface="Slate Pro" panose="02000506040000020004" pitchFamily="2" charset="0"/>
          <a:ea typeface="+mn-ea"/>
          <a:cs typeface="+mn-cs"/>
          <a:sym typeface="Slate Pro" panose="02000506040000020004" pitchFamily="2" charset="0"/>
        </a:defRPr>
      </a:lvl3pPr>
      <a:lvl4pPr marL="598730" indent="-193544" algn="l" defTabSz="802020" rtl="0" eaLnBrk="1" latinLnBrk="0" hangingPunct="1">
        <a:lnSpc>
          <a:spcPct val="90000"/>
        </a:lnSpc>
        <a:spcBef>
          <a:spcPts val="439"/>
        </a:spcBef>
        <a:buFont typeface="Avenir Next LT Pro" panose="020B0504020202020204" pitchFamily="34" charset="0"/>
        <a:buChar char="−"/>
        <a:defRPr sz="965" kern="1200">
          <a:solidFill>
            <a:schemeClr val="tx1"/>
          </a:solidFill>
          <a:latin typeface="Slate Pro" panose="02000506040000020004" pitchFamily="2" charset="0"/>
          <a:ea typeface="+mn-ea"/>
          <a:cs typeface="+mn-cs"/>
          <a:sym typeface="Slate Pro" panose="02000506040000020004" pitchFamily="2" charset="0"/>
        </a:defRPr>
      </a:lvl4pPr>
      <a:lvl5pPr marL="756072" indent="-157341" algn="l" defTabSz="802020" rtl="0" eaLnBrk="1" latinLnBrk="0" hangingPunct="1">
        <a:lnSpc>
          <a:spcPct val="90000"/>
        </a:lnSpc>
        <a:spcBef>
          <a:spcPts val="439"/>
        </a:spcBef>
        <a:buFont typeface="Arial" panose="020B0604020202020204" pitchFamily="34" charset="0"/>
        <a:buChar char="•"/>
        <a:defRPr sz="965" kern="1200">
          <a:solidFill>
            <a:schemeClr val="tx1"/>
          </a:solidFill>
          <a:latin typeface="Slate Pro" panose="02000506040000020004" pitchFamily="2" charset="0"/>
          <a:ea typeface="+mn-ea"/>
          <a:cs typeface="+mn-cs"/>
          <a:sym typeface="Slate Pro" panose="02000506040000020004" pitchFamily="2" charset="0"/>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64.xml"/><Relationship Id="rId5" Type="http://schemas.openxmlformats.org/officeDocument/2006/relationships/image" Target="../media/image14.emf"/><Relationship Id="rId4" Type="http://schemas.openxmlformats.org/officeDocument/2006/relationships/oleObject" Target="../embeddings/oleObject6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73.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74.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75.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76.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77.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78.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79.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slide" Target="slide4.xml"/><Relationship Id="rId3" Type="http://schemas.openxmlformats.org/officeDocument/2006/relationships/notesSlide" Target="../notesSlides/notesSlide16.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1.xml"/><Relationship Id="rId1" Type="http://schemas.openxmlformats.org/officeDocument/2006/relationships/tags" Target="../tags/tag80.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3.svg"/><Relationship Id="rId4" Type="http://schemas.openxmlformats.org/officeDocument/2006/relationships/oleObject" Target="../embeddings/oleObject79.bin"/><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81.x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82.xml"/><Relationship Id="rId6" Type="http://schemas.openxmlformats.org/officeDocument/2006/relationships/image" Target="../media/image37.jpeg"/><Relationship Id="rId5" Type="http://schemas.openxmlformats.org/officeDocument/2006/relationships/image" Target="../media/image1.emf"/><Relationship Id="rId4" Type="http://schemas.openxmlformats.org/officeDocument/2006/relationships/oleObject" Target="../embeddings/oleObject81.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4.xml"/><Relationship Id="rId1" Type="http://schemas.openxmlformats.org/officeDocument/2006/relationships/tags" Target="../tags/tag65.xml"/><Relationship Id="rId4"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83.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84.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slide" Target="slide4.xml"/><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86.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8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87.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4.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22.xml"/><Relationship Id="rId3" Type="http://schemas.openxmlformats.org/officeDocument/2006/relationships/notesSlide" Target="../notesSlides/notesSlide3.xml"/><Relationship Id="rId7" Type="http://schemas.openxmlformats.org/officeDocument/2006/relationships/slide" Target="slide6.xml"/><Relationship Id="rId12" Type="http://schemas.openxmlformats.org/officeDocument/2006/relationships/slide" Target="slide19.xml"/><Relationship Id="rId2" Type="http://schemas.openxmlformats.org/officeDocument/2006/relationships/slideLayout" Target="../slideLayouts/slideLayout1.xml"/><Relationship Id="rId1" Type="http://schemas.openxmlformats.org/officeDocument/2006/relationships/tags" Target="../tags/tag67.xml"/><Relationship Id="rId6" Type="http://schemas.openxmlformats.org/officeDocument/2006/relationships/slide" Target="slide5.xml"/><Relationship Id="rId11" Type="http://schemas.openxmlformats.org/officeDocument/2006/relationships/slide" Target="slide16.xml"/><Relationship Id="rId5" Type="http://schemas.openxmlformats.org/officeDocument/2006/relationships/image" Target="../media/image1.emf"/><Relationship Id="rId15" Type="http://schemas.openxmlformats.org/officeDocument/2006/relationships/slide" Target="slide24.xml"/><Relationship Id="rId10" Type="http://schemas.openxmlformats.org/officeDocument/2006/relationships/slide" Target="slide10.xml"/><Relationship Id="rId4" Type="http://schemas.openxmlformats.org/officeDocument/2006/relationships/oleObject" Target="../embeddings/oleObject66.bin"/><Relationship Id="rId9" Type="http://schemas.openxmlformats.org/officeDocument/2006/relationships/slide" Target="slide8.xml"/><Relationship Id="rId14" Type="http://schemas.openxmlformats.org/officeDocument/2006/relationships/slide" Target="slide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68.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69.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notesSlide" Target="../notesSlides/notesSlide6.xml"/><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69.bin"/><Relationship Id="rId9" Type="http://schemas.openxmlformats.org/officeDocument/2006/relationships/image" Target="../media/image20.svg"/><Relationship Id="rId14" Type="http://schemas.openxmlformats.org/officeDocument/2006/relationships/slide" Target="slide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slide" Target="slide4.xml"/><Relationship Id="rId2" Type="http://schemas.openxmlformats.org/officeDocument/2006/relationships/slideLayout" Target="../slideLayouts/slideLayout1.xml"/><Relationship Id="rId1" Type="http://schemas.openxmlformats.org/officeDocument/2006/relationships/tags" Target="../tags/tag71.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72.xml"/><Relationship Id="rId6" Type="http://schemas.openxmlformats.org/officeDocument/2006/relationships/slide" Target="slide4.xml"/><Relationship Id="rId5" Type="http://schemas.openxmlformats.org/officeDocument/2006/relationships/image" Target="../media/image1.emf"/><Relationship Id="rId4" Type="http://schemas.openxmlformats.org/officeDocument/2006/relationships/oleObject" Target="../embeddings/oleObject7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E25E8-B4A0-CAA0-D833-DEAC6A217AA5}"/>
              </a:ext>
            </a:extLst>
          </p:cNvPr>
          <p:cNvGraphicFramePr>
            <a:graphicFrameLocks noChangeAspect="1"/>
          </p:cNvGraphicFramePr>
          <p:nvPr>
            <p:custDataLst>
              <p:tags r:id="rId1"/>
            </p:custDataLst>
            <p:extLst>
              <p:ext uri="{D42A27DB-BD31-4B8C-83A1-F6EECF244321}">
                <p14:modId xmlns:p14="http://schemas.microsoft.com/office/powerpoint/2010/main" val="4192489246"/>
              </p:ext>
            </p:extLst>
          </p:nvPr>
        </p:nvGraphicFramePr>
        <p:xfrm>
          <a:off x="1393" y="775299"/>
          <a:ext cx="1393" cy="1393"/>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5" name="Object 4" hidden="1">
                        <a:extLst>
                          <a:ext uri="{FF2B5EF4-FFF2-40B4-BE49-F238E27FC236}">
                            <a16:creationId xmlns:a16="http://schemas.microsoft.com/office/drawing/2014/main" id="{2ABE25E8-B4A0-CAA0-D833-DEAC6A217AA5}"/>
                          </a:ext>
                        </a:extLst>
                      </p:cNvPr>
                      <p:cNvPicPr/>
                      <p:nvPr/>
                    </p:nvPicPr>
                    <p:blipFill>
                      <a:blip r:embed="rId5"/>
                      <a:stretch>
                        <a:fillRect/>
                      </a:stretch>
                    </p:blipFill>
                    <p:spPr>
                      <a:xfrm>
                        <a:off x="1393" y="775299"/>
                        <a:ext cx="1393" cy="139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592C9A-2923-003D-E7DB-2FC9C158B534}"/>
              </a:ext>
            </a:extLst>
          </p:cNvPr>
          <p:cNvSpPr>
            <a:spLocks noGrp="1"/>
          </p:cNvSpPr>
          <p:nvPr>
            <p:ph type="ctrTitle"/>
          </p:nvPr>
        </p:nvSpPr>
        <p:spPr>
          <a:xfrm>
            <a:off x="1330386" y="2987452"/>
            <a:ext cx="8782897" cy="583082"/>
          </a:xfrm>
        </p:spPr>
        <p:txBody>
          <a:bodyPr vert="horz"/>
          <a:lstStyle/>
          <a:p>
            <a:pPr>
              <a:lnSpc>
                <a:spcPct val="120000"/>
              </a:lnSpc>
              <a:spcBef>
                <a:spcPts val="263"/>
              </a:spcBef>
              <a:spcAft>
                <a:spcPts val="263"/>
              </a:spcAft>
              <a:defRPr/>
            </a:pPr>
            <a:r>
              <a:rPr lang="en-US" sz="3200" dirty="0"/>
              <a:t>Channel Partner Program Guide Template</a:t>
            </a:r>
          </a:p>
        </p:txBody>
      </p:sp>
      <p:sp>
        <p:nvSpPr>
          <p:cNvPr id="4" name="Subtitle 3">
            <a:extLst>
              <a:ext uri="{FF2B5EF4-FFF2-40B4-BE49-F238E27FC236}">
                <a16:creationId xmlns:a16="http://schemas.microsoft.com/office/drawing/2014/main" id="{975DDD04-CC53-F779-F831-CAB50A51E2E8}"/>
              </a:ext>
            </a:extLst>
          </p:cNvPr>
          <p:cNvSpPr>
            <a:spLocks noGrp="1"/>
          </p:cNvSpPr>
          <p:nvPr>
            <p:ph type="subTitle" idx="1"/>
          </p:nvPr>
        </p:nvSpPr>
        <p:spPr/>
        <p:txBody>
          <a:bodyPr/>
          <a:lstStyle/>
          <a:p>
            <a:r>
              <a:rPr lang="en-US" sz="2000" dirty="0"/>
              <a:t>Supplement to </a:t>
            </a:r>
            <a:r>
              <a:rPr lang="en-US" sz="2000" dirty="0">
                <a:solidFill>
                  <a:schemeClr val="accent4"/>
                </a:solidFill>
              </a:rPr>
              <a:t>Channel Partner Programs Growth Project Guide </a:t>
            </a:r>
          </a:p>
        </p:txBody>
      </p:sp>
    </p:spTree>
    <p:extLst>
      <p:ext uri="{BB962C8B-B14F-4D97-AF65-F5344CB8AC3E}">
        <p14:creationId xmlns:p14="http://schemas.microsoft.com/office/powerpoint/2010/main" val="1906600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179B6E9-5760-21B9-4ABA-BE5561BADBBB}"/>
              </a:ext>
            </a:extLst>
          </p:cNvPr>
          <p:cNvGraphicFramePr>
            <a:graphicFrameLocks noChangeAspect="1"/>
          </p:cNvGraphicFramePr>
          <p:nvPr>
            <p:custDataLst>
              <p:tags r:id="rId1"/>
            </p:custDataLst>
            <p:extLst>
              <p:ext uri="{D42A27DB-BD31-4B8C-83A1-F6EECF244321}">
                <p14:modId xmlns:p14="http://schemas.microsoft.com/office/powerpoint/2010/main" val="308636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 name="Object 18" hidden="1">
                        <a:extLst>
                          <a:ext uri="{FF2B5EF4-FFF2-40B4-BE49-F238E27FC236}">
                            <a16:creationId xmlns:a16="http://schemas.microsoft.com/office/drawing/2014/main" id="{B179B6E9-5760-21B9-4ABA-BE5561BADB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bject 7"/>
          <p:cNvSpPr txBox="1">
            <a:spLocks noGrp="1"/>
          </p:cNvSpPr>
          <p:nvPr>
            <p:ph type="title"/>
          </p:nvPr>
        </p:nvSpPr>
        <p:spPr>
          <a:xfrm>
            <a:off x="506299" y="402336"/>
            <a:ext cx="3465626"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Benefits and Requirements</a:t>
            </a:r>
          </a:p>
        </p:txBody>
      </p:sp>
      <p:sp>
        <p:nvSpPr>
          <p:cNvPr id="17" name="object 17"/>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0</a:t>
            </a:fld>
            <a:endParaRPr spc="-25"/>
          </a:p>
        </p:txBody>
      </p:sp>
      <p:sp>
        <p:nvSpPr>
          <p:cNvPr id="22" name="object 12">
            <a:extLst>
              <a:ext uri="{FF2B5EF4-FFF2-40B4-BE49-F238E27FC236}">
                <a16:creationId xmlns:a16="http://schemas.microsoft.com/office/drawing/2014/main" id="{B611568D-C751-4127-51CC-F1169782A48A}"/>
              </a:ext>
            </a:extLst>
          </p:cNvPr>
          <p:cNvSpPr/>
          <p:nvPr/>
        </p:nvSpPr>
        <p:spPr>
          <a:xfrm>
            <a:off x="201554" y="190947"/>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3" name="object 13">
            <a:extLst>
              <a:ext uri="{FF2B5EF4-FFF2-40B4-BE49-F238E27FC236}">
                <a16:creationId xmlns:a16="http://schemas.microsoft.com/office/drawing/2014/main" id="{D5785A38-50A5-09E0-6F7F-A96EF77E7255}"/>
              </a:ext>
            </a:extLst>
          </p:cNvPr>
          <p:cNvSpPr/>
          <p:nvPr/>
        </p:nvSpPr>
        <p:spPr>
          <a:xfrm>
            <a:off x="201554" y="265113"/>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 name="object 9">
            <a:extLst>
              <a:ext uri="{FF2B5EF4-FFF2-40B4-BE49-F238E27FC236}">
                <a16:creationId xmlns:a16="http://schemas.microsoft.com/office/drawing/2014/main" id="{58503AA5-26F6-585F-D8F0-1F4B96F4BDEA}"/>
              </a:ext>
            </a:extLst>
          </p:cNvPr>
          <p:cNvSpPr txBox="1"/>
          <p:nvPr/>
        </p:nvSpPr>
        <p:spPr>
          <a:xfrm>
            <a:off x="456605" y="2514602"/>
            <a:ext cx="4016005" cy="2695738"/>
          </a:xfrm>
          <a:prstGeom prst="rect">
            <a:avLst/>
          </a:prstGeom>
        </p:spPr>
        <p:txBody>
          <a:bodyPr vert="horz" wrap="square" lIns="0" tIns="20320" rIns="0" bIns="0" rtlCol="0">
            <a:spAutoFit/>
          </a:bodyPr>
          <a:lstStyle/>
          <a:p>
            <a:pPr marL="12700" marR="5080">
              <a:lnSpc>
                <a:spcPct val="117400"/>
              </a:lnSpc>
              <a:spcBef>
                <a:spcPts val="760"/>
              </a:spcBef>
            </a:pPr>
            <a:r>
              <a:rPr lang="en-US" sz="1200" dirty="0">
                <a:latin typeface="Slate Pro" panose="02000506040000020004" pitchFamily="2" charset="0"/>
                <a:cs typeface="Arial"/>
                <a:sym typeface="Slate Pro" panose="02000506040000020004" pitchFamily="2" charset="0"/>
              </a:rPr>
              <a:t>The ACME Partner Program offers benefits designed to assist you in selling and implementing ACME's products and solutions. As a Silver Partner, you will receive access to demo subscriptions and training resources. The Gold Partners’ increased commitment to ACME is rewarded with enhanced benefits, including co-branded materials, new lead gen marketing incentive eligibility, and discounted training.</a:t>
            </a:r>
          </a:p>
          <a:p>
            <a:pPr marL="12700" marR="5080">
              <a:lnSpc>
                <a:spcPct val="117400"/>
              </a:lnSpc>
              <a:spcBef>
                <a:spcPts val="760"/>
              </a:spcBef>
            </a:pPr>
            <a:r>
              <a:rPr lang="en-US" sz="1200" dirty="0">
                <a:latin typeface="Slate Pro" panose="02000506040000020004" pitchFamily="2" charset="0"/>
                <a:cs typeface="Arial"/>
                <a:sym typeface="Slate Pro" panose="02000506040000020004" pitchFamily="2" charset="0"/>
              </a:rPr>
              <a:t>All Partner members participating in the ACME Partner Program must maintain compliance with a set of performance, training, and certification requirements that are defined by Tier. Ascending from the Silver to Gold Tier is dependent on a Partner’s ability to meet the requirements for the Gold Tier. </a:t>
            </a:r>
          </a:p>
        </p:txBody>
      </p:sp>
      <p:sp>
        <p:nvSpPr>
          <p:cNvPr id="5" name="TextBox 4">
            <a:extLst>
              <a:ext uri="{FF2B5EF4-FFF2-40B4-BE49-F238E27FC236}">
                <a16:creationId xmlns:a16="http://schemas.microsoft.com/office/drawing/2014/main" id="{37FE71BE-6BB1-4976-7DAC-3A6424B4CD98}"/>
              </a:ext>
            </a:extLst>
          </p:cNvPr>
          <p:cNvSpPr txBox="1"/>
          <p:nvPr/>
        </p:nvSpPr>
        <p:spPr>
          <a:xfrm>
            <a:off x="419541" y="1675454"/>
            <a:ext cx="3752411" cy="524822"/>
          </a:xfrm>
          <a:prstGeom prst="rect">
            <a:avLst/>
          </a:prstGeom>
          <a:noFill/>
        </p:spPr>
        <p:txBody>
          <a:bodyPr wrap="none">
            <a:noAutofit/>
          </a:bodyPr>
          <a:lstStyle/>
          <a:p>
            <a:pPr marL="12700" marR="1223645" algn="l">
              <a:lnSpc>
                <a:spcPct val="120000"/>
              </a:lnSpc>
              <a:spcBef>
                <a:spcPts val="160"/>
              </a:spcBef>
            </a:pPr>
            <a:r>
              <a:rPr lang="en-US" b="1" spc="-30" dirty="0">
                <a:latin typeface="Slate Pro" panose="02000506040000020004" pitchFamily="2" charset="0"/>
                <a:cs typeface="Arial"/>
                <a:sym typeface="Slate Pro" panose="02000506040000020004" pitchFamily="2" charset="0"/>
              </a:rPr>
              <a:t>What it takes to be an ACME Partner </a:t>
            </a:r>
            <a:br>
              <a:rPr lang="en-US" b="1" spc="-30" dirty="0">
                <a:latin typeface="Slate Pro" panose="02000506040000020004" pitchFamily="2" charset="0"/>
                <a:cs typeface="Arial"/>
                <a:sym typeface="Slate Pro" panose="02000506040000020004" pitchFamily="2" charset="0"/>
              </a:rPr>
            </a:br>
            <a:r>
              <a:rPr lang="en-US" b="1" spc="-30" dirty="0">
                <a:latin typeface="Slate Pro" panose="02000506040000020004" pitchFamily="2" charset="0"/>
                <a:cs typeface="Arial"/>
                <a:sym typeface="Slate Pro" panose="02000506040000020004" pitchFamily="2" charset="0"/>
              </a:rPr>
              <a:t>and what the program offers you.</a:t>
            </a:r>
            <a:endParaRPr lang="en-US" dirty="0">
              <a:latin typeface="Slate Pro" panose="02000506040000020004" pitchFamily="2" charset="0"/>
              <a:cs typeface="Arial"/>
              <a:sym typeface="Slate Pro" panose="02000506040000020004" pitchFamily="2" charset="0"/>
            </a:endParaRPr>
          </a:p>
        </p:txBody>
      </p:sp>
      <p:sp>
        <p:nvSpPr>
          <p:cNvPr id="4" name="Holder 4">
            <a:extLst>
              <a:ext uri="{FF2B5EF4-FFF2-40B4-BE49-F238E27FC236}">
                <a16:creationId xmlns:a16="http://schemas.microsoft.com/office/drawing/2014/main" id="{29F2AE6C-D52D-C869-37B3-1AE5B71B7D21}"/>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pic>
        <p:nvPicPr>
          <p:cNvPr id="8" name="Picture 7" descr="Bright ladder against dull ladders">
            <a:extLst>
              <a:ext uri="{FF2B5EF4-FFF2-40B4-BE49-F238E27FC236}">
                <a16:creationId xmlns:a16="http://schemas.microsoft.com/office/drawing/2014/main" id="{91EC46DF-A013-25B5-DDF2-A0ACF928BE6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912242" y="0"/>
            <a:ext cx="5776712" cy="7068312"/>
          </a:xfrm>
          <a:prstGeom prst="rect">
            <a:avLst/>
          </a:prstGeom>
        </p:spPr>
      </p:pic>
      <p:grpSp>
        <p:nvGrpSpPr>
          <p:cNvPr id="11" name="Group 10">
            <a:extLst>
              <a:ext uri="{FF2B5EF4-FFF2-40B4-BE49-F238E27FC236}">
                <a16:creationId xmlns:a16="http://schemas.microsoft.com/office/drawing/2014/main" id="{1018D8F7-C2C3-3590-77B1-DCA20630BACF}"/>
              </a:ext>
            </a:extLst>
          </p:cNvPr>
          <p:cNvGrpSpPr/>
          <p:nvPr/>
        </p:nvGrpSpPr>
        <p:grpSpPr>
          <a:xfrm>
            <a:off x="157427" y="7205390"/>
            <a:ext cx="2416310" cy="276999"/>
            <a:chOff x="157428" y="7205390"/>
            <a:chExt cx="2132373" cy="276999"/>
          </a:xfrm>
        </p:grpSpPr>
        <p:sp>
          <p:nvSpPr>
            <p:cNvPr id="12" name="TextBox 11">
              <a:hlinkClick r:id="rId7" action="ppaction://hlinksldjump"/>
              <a:extLst>
                <a:ext uri="{FF2B5EF4-FFF2-40B4-BE49-F238E27FC236}">
                  <a16:creationId xmlns:a16="http://schemas.microsoft.com/office/drawing/2014/main" id="{B7D852B7-672B-DBB6-DC43-8F0F44C8F556}"/>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3" name="Arrow: Right 12">
              <a:extLst>
                <a:ext uri="{FF2B5EF4-FFF2-40B4-BE49-F238E27FC236}">
                  <a16:creationId xmlns:a16="http://schemas.microsoft.com/office/drawing/2014/main" id="{0FAE2A7F-0275-B1DE-3EB5-844F38970026}"/>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0645689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FBF9799-1637-E275-5EDB-35447EDA391D}"/>
              </a:ext>
            </a:extLst>
          </p:cNvPr>
          <p:cNvGraphicFramePr>
            <a:graphicFrameLocks noChangeAspect="1"/>
          </p:cNvGraphicFramePr>
          <p:nvPr>
            <p:custDataLst>
              <p:tags r:id="rId1"/>
            </p:custDataLst>
            <p:extLst>
              <p:ext uri="{D42A27DB-BD31-4B8C-83A1-F6EECF244321}">
                <p14:modId xmlns:p14="http://schemas.microsoft.com/office/powerpoint/2010/main" val="318922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6" name="Object 15" hidden="1">
                        <a:extLst>
                          <a:ext uri="{FF2B5EF4-FFF2-40B4-BE49-F238E27FC236}">
                            <a16:creationId xmlns:a16="http://schemas.microsoft.com/office/drawing/2014/main" id="{5FBF9799-1637-E275-5EDB-35447EDA3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bject 14"/>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1</a:t>
            </a:fld>
            <a:endParaRPr spc="-25"/>
          </a:p>
        </p:txBody>
      </p:sp>
      <p:graphicFrame>
        <p:nvGraphicFramePr>
          <p:cNvPr id="22" name="Table 4">
            <a:extLst>
              <a:ext uri="{FF2B5EF4-FFF2-40B4-BE49-F238E27FC236}">
                <a16:creationId xmlns:a16="http://schemas.microsoft.com/office/drawing/2014/main" id="{D20C9A8B-8994-2F9C-ECFA-424E36DBFB8B}"/>
              </a:ext>
            </a:extLst>
          </p:cNvPr>
          <p:cNvGraphicFramePr>
            <a:graphicFrameLocks noGrp="1"/>
          </p:cNvGraphicFramePr>
          <p:nvPr>
            <p:extLst>
              <p:ext uri="{D42A27DB-BD31-4B8C-83A1-F6EECF244321}">
                <p14:modId xmlns:p14="http://schemas.microsoft.com/office/powerpoint/2010/main" val="927194477"/>
              </p:ext>
            </p:extLst>
          </p:nvPr>
        </p:nvGraphicFramePr>
        <p:xfrm>
          <a:off x="518300" y="1500405"/>
          <a:ext cx="9681517" cy="1851090"/>
        </p:xfrm>
        <a:graphic>
          <a:graphicData uri="http://schemas.openxmlformats.org/drawingml/2006/table">
            <a:tbl>
              <a:tblPr firstRow="1" bandRow="1"/>
              <a:tblGrid>
                <a:gridCol w="3278841">
                  <a:extLst>
                    <a:ext uri="{9D8B030D-6E8A-4147-A177-3AD203B41FA5}">
                      <a16:colId xmlns:a16="http://schemas.microsoft.com/office/drawing/2014/main" val="4099658833"/>
                    </a:ext>
                  </a:extLst>
                </a:gridCol>
                <a:gridCol w="1600669">
                  <a:extLst>
                    <a:ext uri="{9D8B030D-6E8A-4147-A177-3AD203B41FA5}">
                      <a16:colId xmlns:a16="http://schemas.microsoft.com/office/drawing/2014/main" val="3272180249"/>
                    </a:ext>
                  </a:extLst>
                </a:gridCol>
                <a:gridCol w="1600669">
                  <a:extLst>
                    <a:ext uri="{9D8B030D-6E8A-4147-A177-3AD203B41FA5}">
                      <a16:colId xmlns:a16="http://schemas.microsoft.com/office/drawing/2014/main" val="3572647427"/>
                    </a:ext>
                  </a:extLst>
                </a:gridCol>
                <a:gridCol w="1600669">
                  <a:extLst>
                    <a:ext uri="{9D8B030D-6E8A-4147-A177-3AD203B41FA5}">
                      <a16:colId xmlns:a16="http://schemas.microsoft.com/office/drawing/2014/main" val="1449849690"/>
                    </a:ext>
                  </a:extLst>
                </a:gridCol>
                <a:gridCol w="1600669">
                  <a:extLst>
                    <a:ext uri="{9D8B030D-6E8A-4147-A177-3AD203B41FA5}">
                      <a16:colId xmlns:a16="http://schemas.microsoft.com/office/drawing/2014/main" val="140121183"/>
                    </a:ext>
                  </a:extLst>
                </a:gridCol>
              </a:tblGrid>
              <a:tr h="190797">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dirty="0">
                          <a:latin typeface="Slate Pro" panose="02000506040000020004" pitchFamily="2" charset="0"/>
                          <a:cs typeface="Calibri" panose="020F0502020204030204" pitchFamily="34" charset="0"/>
                          <a:sym typeface="Slate Pro" panose="02000506040000020004" pitchFamily="2" charset="0"/>
                        </a:rPr>
                        <a:t>Partner Tier</a:t>
                      </a:r>
                    </a:p>
                  </a:txBody>
                  <a:tcP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noFill/>
                  </a:tcPr>
                </a:tc>
                <a:tc gridSpan="2">
                  <a:txBody>
                    <a:bodyPr/>
                    <a:lstStyle/>
                    <a:p>
                      <a:pPr algn="ctr"/>
                      <a:r>
                        <a:rPr lang="en-US" sz="1100" b="1" dirty="0">
                          <a:solidFill>
                            <a:schemeClr val="bg1"/>
                          </a:solidFill>
                          <a:latin typeface="Slate Pro" panose="02000506040000020004" pitchFamily="2" charset="0"/>
                          <a:cs typeface="Calibri" panose="020F0502020204030204" pitchFamily="34" charset="0"/>
                          <a:sym typeface="Slate Pro" panose="02000506040000020004" pitchFamily="2" charset="0"/>
                        </a:rPr>
                        <a:t>Silver</a:t>
                      </a:r>
                      <a:endParaRPr lang="en-US" sz="1100" dirty="0">
                        <a:solidFill>
                          <a:schemeClr val="bg1"/>
                        </a:solidFill>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FABAB"/>
                    </a:solidFill>
                  </a:tcPr>
                </a:tc>
                <a:tc hMerge="1">
                  <a:txBody>
                    <a:bodyPr/>
                    <a:lstStyle/>
                    <a:p>
                      <a:endParaRPr lang="en-US"/>
                    </a:p>
                  </a:txBody>
                  <a:tcPr/>
                </a:tc>
                <a:tc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dirty="0">
                          <a:solidFill>
                            <a:schemeClr val="bg1"/>
                          </a:solidFill>
                          <a:latin typeface="Slate Pro" panose="02000506040000020004" pitchFamily="2" charset="0"/>
                          <a:cs typeface="Calibri" panose="020F0502020204030204" pitchFamily="34" charset="0"/>
                          <a:sym typeface="Slate Pro" panose="02000506040000020004" pitchFamily="2" charset="0"/>
                        </a:rPr>
                        <a:t>Go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B737"/>
                    </a:solidFill>
                  </a:tcPr>
                </a:tc>
                <a:tc hMerge="1">
                  <a:txBody>
                    <a:bodyPr/>
                    <a:lstStyle/>
                    <a:p>
                      <a:endParaRPr lang="en-US"/>
                    </a:p>
                  </a:txBody>
                  <a:tcPr/>
                </a:tc>
                <a:extLst>
                  <a:ext uri="{0D108BD9-81ED-4DB2-BD59-A6C34878D82A}">
                    <a16:rowId xmlns:a16="http://schemas.microsoft.com/office/drawing/2014/main" val="4028751440"/>
                  </a:ext>
                </a:extLst>
              </a:tr>
              <a:tr h="190797">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r"/>
                      <a:r>
                        <a:rPr lang="en-US" sz="1100" dirty="0">
                          <a:latin typeface="Slate Pro" panose="02000506040000020004" pitchFamily="2" charset="0"/>
                          <a:cs typeface="Calibri" panose="020F0502020204030204" pitchFamily="34" charset="0"/>
                          <a:sym typeface="Slate Pro" panose="02000506040000020004" pitchFamily="2" charset="0"/>
                        </a:rPr>
                        <a:t>Market Size</a:t>
                      </a:r>
                    </a:p>
                  </a:txBody>
                  <a:tcP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latin typeface="Slate Pro" panose="02000506040000020004" pitchFamily="2" charset="0"/>
                          <a:cs typeface="Calibri" panose="020F0502020204030204" pitchFamily="34" charset="0"/>
                          <a:sym typeface="Slate Pro" panose="02000506040000020004" pitchFamily="2" charset="0"/>
                        </a:rPr>
                        <a:t>Sma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dirty="0">
                          <a:latin typeface="Slate Pro" panose="02000506040000020004" pitchFamily="2" charset="0"/>
                          <a:cs typeface="Calibri" panose="020F0502020204030204" pitchFamily="34" charset="0"/>
                          <a:sym typeface="Slate Pro" panose="02000506040000020004" pitchFamily="2" charset="0"/>
                        </a:rPr>
                        <a:t>Lar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dirty="0">
                          <a:latin typeface="Slate Pro" panose="02000506040000020004" pitchFamily="2" charset="0"/>
                          <a:cs typeface="Calibri" panose="020F0502020204030204" pitchFamily="34" charset="0"/>
                          <a:sym typeface="Slate Pro" panose="02000506040000020004" pitchFamily="2" charset="0"/>
                        </a:rPr>
                        <a:t>Sma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dirty="0">
                          <a:latin typeface="Slate Pro" panose="02000506040000020004" pitchFamily="2" charset="0"/>
                          <a:cs typeface="Calibri" panose="020F0502020204030204" pitchFamily="34" charset="0"/>
                          <a:sym typeface="Slate Pro" panose="02000506040000020004" pitchFamily="2" charset="0"/>
                        </a:rPr>
                        <a:t>Lar g 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7257932"/>
                  </a:ext>
                </a:extLst>
              </a:tr>
              <a:tr h="274320">
                <a:tc gridSpan="5">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chemeClr val="bg1"/>
                          </a:solidFill>
                          <a:effectLst/>
                          <a:latin typeface="Slate Pro" panose="02000506040000020004" pitchFamily="2" charset="0"/>
                          <a:cs typeface="Calibri" panose="020F0502020204030204" pitchFamily="34" charset="0"/>
                          <a:sym typeface="Slate Pro" panose="02000506040000020004" pitchFamily="2" charset="0"/>
                        </a:rPr>
                        <a:t>   Requirements  </a:t>
                      </a:r>
                    </a:p>
                  </a:txBody>
                  <a:tcPr marL="1479" marR="1479" marT="1479" marB="212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987C6"/>
                    </a:solidFill>
                  </a:tcPr>
                </a:tc>
                <a:tc hMerge="1">
                  <a:txBody>
                    <a:bodyPr/>
                    <a:lstStyle/>
                    <a:p>
                      <a:endParaRPr lang="en-US"/>
                    </a:p>
                  </a:txBody>
                  <a:tcPr>
                    <a:lnL w="12700" cmpd="sng">
                      <a:noFill/>
                      <a:prstDash val="solid"/>
                    </a:lnL>
                    <a:lnT w="12700" cmpd="sng">
                      <a:noFill/>
                      <a:prstDash val="solid"/>
                    </a:lnT>
                  </a:tcPr>
                </a:tc>
                <a:tc hMerge="1">
                  <a:txBody>
                    <a:bodyPr/>
                    <a:lstStyle/>
                    <a:p>
                      <a:pPr algn="ctr"/>
                      <a:endParaRPr lang="en-US" sz="900"/>
                    </a:p>
                  </a:txBody>
                  <a:tcPr/>
                </a:tc>
                <a:tc hMerge="1">
                  <a:txBody>
                    <a:bodyPr/>
                    <a:lstStyle/>
                    <a:p>
                      <a:pPr algn="ctr"/>
                      <a:endParaRPr lang="en-US" sz="900"/>
                    </a:p>
                  </a:txBody>
                  <a:tcPr/>
                </a:tc>
                <a:tc hMerge="1">
                  <a:txBody>
                    <a:bodyPr/>
                    <a:lstStyle/>
                    <a:p>
                      <a:pPr algn="ctr"/>
                      <a:endParaRPr lang="en-US" sz="900"/>
                    </a:p>
                  </a:txBody>
                  <a:tcPr/>
                </a:tc>
                <a:extLst>
                  <a:ext uri="{0D108BD9-81ED-4DB2-BD59-A6C34878D82A}">
                    <a16:rowId xmlns:a16="http://schemas.microsoft.com/office/drawing/2014/main" val="3452170114"/>
                  </a:ext>
                </a:extLst>
              </a:tr>
              <a:tr h="281370">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91440" lvl="0"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Standard MSA and Contractual Agreements in Place</a:t>
                      </a:r>
                    </a:p>
                  </a:txBody>
                  <a:tcPr marL="1479" marR="1479" marT="1479" marB="212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040504"/>
                  </a:ext>
                </a:extLst>
              </a:tr>
              <a:tr h="202391">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91440" lvl="0"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Minimum # of Certified Pre-Sales Resources</a:t>
                      </a:r>
                    </a:p>
                  </a:txBody>
                  <a:tcPr marL="1479" marR="1479" marT="1479" marB="212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5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295824"/>
                  </a:ext>
                </a:extLst>
              </a:tr>
              <a:tr h="0">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91440" lvl="0"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Minimum # of Certified Sales Resources</a:t>
                      </a:r>
                    </a:p>
                  </a:txBody>
                  <a:tcPr marL="1479" marR="1479" marT="1479" marB="212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a:sym typeface="Slate Pro" panose="02000506040000020004" pitchFamily="2"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a:sym typeface="Slate Pro" panose="02000506040000020004" pitchFamily="2" charset="0"/>
                        </a:rPr>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1995419"/>
                  </a:ext>
                </a:extLst>
              </a:tr>
              <a:tr h="0">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91440" lvl="0"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Minimum % of Delivery Resources Certified</a:t>
                      </a:r>
                    </a:p>
                  </a:txBody>
                  <a:tcPr marL="1479" marR="1479" marT="1479" marB="2129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a:sym typeface="Slate Pro" panose="02000506040000020004" pitchFamily="2" charset="0"/>
                        </a:rPr>
                        <a:t>5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a:sym typeface="Slate Pro" panose="02000506040000020004" pitchFamily="2" charset="0"/>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a:sym typeface="Slate Pro" panose="02000506040000020004" pitchFamily="2" charset="0"/>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a:sym typeface="Slate Pro" panose="02000506040000020004" pitchFamily="2" charset="0"/>
                        </a:rPr>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4891995"/>
                  </a:ext>
                </a:extLst>
              </a:tr>
            </a:tbl>
          </a:graphicData>
        </a:graphic>
      </p:graphicFrame>
      <p:sp>
        <p:nvSpPr>
          <p:cNvPr id="23" name="object 8">
            <a:extLst>
              <a:ext uri="{FF2B5EF4-FFF2-40B4-BE49-F238E27FC236}">
                <a16:creationId xmlns:a16="http://schemas.microsoft.com/office/drawing/2014/main" id="{7571D5EE-B4C5-5E7F-11F2-3FD90D769884}"/>
              </a:ext>
            </a:extLst>
          </p:cNvPr>
          <p:cNvSpPr txBox="1">
            <a:spLocks/>
          </p:cNvSpPr>
          <p:nvPr/>
        </p:nvSpPr>
        <p:spPr>
          <a:xfrm>
            <a:off x="502920" y="397472"/>
            <a:ext cx="9746835" cy="505267"/>
          </a:xfrm>
          <a:prstGeom prst="rect">
            <a:avLst/>
          </a:prstGeom>
        </p:spPr>
        <p:txBody>
          <a:bodyPr vert="horz" wrap="square" lIns="0" tIns="12700" rIns="0" bIns="0" rtlCol="0">
            <a:spAutoFit/>
          </a:bodyPr>
          <a:lstStyle>
            <a:lvl1pPr>
              <a:defRPr sz="3550" b="1" i="0">
                <a:solidFill>
                  <a:srgbClr val="DA291C"/>
                </a:solidFill>
                <a:latin typeface="Arial"/>
                <a:ea typeface="+mj-ea"/>
                <a:cs typeface="Arial"/>
              </a:defRPr>
            </a:lvl1pPr>
          </a:lstStyle>
          <a:p>
            <a:pPr marL="12700">
              <a:spcBef>
                <a:spcPts val="100"/>
              </a:spcBef>
            </a:pPr>
            <a:r>
              <a:rPr lang="en-US" sz="3200" dirty="0">
                <a:solidFill>
                  <a:srgbClr val="5A87C5"/>
                </a:solidFill>
                <a:latin typeface="Slate Pro" panose="02000506040000020004" pitchFamily="2" charset="0"/>
                <a:sym typeface="Slate Pro" panose="02000506040000020004" pitchFamily="2" charset="0"/>
              </a:rPr>
              <a:t>Partner Program Requirements </a:t>
            </a:r>
          </a:p>
        </p:txBody>
      </p:sp>
      <p:sp>
        <p:nvSpPr>
          <p:cNvPr id="5" name="TextBox 4">
            <a:extLst>
              <a:ext uri="{FF2B5EF4-FFF2-40B4-BE49-F238E27FC236}">
                <a16:creationId xmlns:a16="http://schemas.microsoft.com/office/drawing/2014/main" id="{67AE06B4-68A9-1090-BD48-E0D2ED0C9401}"/>
              </a:ext>
            </a:extLst>
          </p:cNvPr>
          <p:cNvSpPr txBox="1"/>
          <p:nvPr/>
        </p:nvSpPr>
        <p:spPr>
          <a:xfrm>
            <a:off x="496481" y="3467577"/>
            <a:ext cx="9790468" cy="830997"/>
          </a:xfrm>
          <a:prstGeom prst="rect">
            <a:avLst/>
          </a:prstGeom>
          <a:noFill/>
        </p:spPr>
        <p:txBody>
          <a:bodyPr wrap="square">
            <a:spAutoFit/>
          </a:bodyPr>
          <a:lstStyle/>
          <a:p>
            <a:pPr algn="l"/>
            <a:r>
              <a:rPr lang="en-US" sz="1200" b="1" dirty="0">
                <a:latin typeface="Slate Pro" panose="02000506040000020004" pitchFamily="2" charset="0"/>
                <a:sym typeface="Slate Pro" panose="02000506040000020004" pitchFamily="2" charset="0"/>
              </a:rPr>
              <a:t>Note: </a:t>
            </a:r>
            <a:r>
              <a:rPr lang="en-US" sz="1200" dirty="0">
                <a:latin typeface="Slate Pro" panose="02000506040000020004" pitchFamily="2" charset="0"/>
                <a:sym typeface="Slate Pro" panose="02000506040000020004" pitchFamily="2" charset="0"/>
              </a:rPr>
              <a:t>In addition to the above training and certification requirements, Partners must drive a predetermined amount of ACME bookings over the course of the ACME fiscal year to maintain (and advance) their Tier status within the Partner Program. To ensure targets are feasible, these performance requirements are based upon Tier and the market a Partner primarily sells into. These targets may be refreshed annually depending on market conditions and the Partner’s prior year performance.</a:t>
            </a:r>
          </a:p>
        </p:txBody>
      </p:sp>
      <p:sp>
        <p:nvSpPr>
          <p:cNvPr id="4" name="Holder 4">
            <a:extLst>
              <a:ext uri="{FF2B5EF4-FFF2-40B4-BE49-F238E27FC236}">
                <a16:creationId xmlns:a16="http://schemas.microsoft.com/office/drawing/2014/main" id="{DA7CE9FE-CA99-57C5-2BFC-F16541749624}"/>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aphicFrame>
        <p:nvGraphicFramePr>
          <p:cNvPr id="6" name="object 5">
            <a:extLst>
              <a:ext uri="{FF2B5EF4-FFF2-40B4-BE49-F238E27FC236}">
                <a16:creationId xmlns:a16="http://schemas.microsoft.com/office/drawing/2014/main" id="{D0AC4444-04CA-A74E-F7B0-70C859F61E2F}"/>
              </a:ext>
            </a:extLst>
          </p:cNvPr>
          <p:cNvGraphicFramePr>
            <a:graphicFrameLocks noGrp="1"/>
          </p:cNvGraphicFramePr>
          <p:nvPr>
            <p:extLst>
              <p:ext uri="{D42A27DB-BD31-4B8C-83A1-F6EECF244321}">
                <p14:modId xmlns:p14="http://schemas.microsoft.com/office/powerpoint/2010/main" val="245956224"/>
              </p:ext>
            </p:extLst>
          </p:nvPr>
        </p:nvGraphicFramePr>
        <p:xfrm>
          <a:off x="536894" y="5105512"/>
          <a:ext cx="9619615" cy="787400"/>
        </p:xfrm>
        <a:graphic>
          <a:graphicData uri="http://schemas.openxmlformats.org/drawingml/2006/table">
            <a:tbl>
              <a:tblPr firstRow="1" bandRow="1">
                <a:tableStyleId>{2D5ABB26-0587-4C30-8999-92F81FD0307C}</a:tableStyleId>
              </a:tblPr>
              <a:tblGrid>
                <a:gridCol w="1923923">
                  <a:extLst>
                    <a:ext uri="{9D8B030D-6E8A-4147-A177-3AD203B41FA5}">
                      <a16:colId xmlns:a16="http://schemas.microsoft.com/office/drawing/2014/main" val="20000"/>
                    </a:ext>
                  </a:extLst>
                </a:gridCol>
                <a:gridCol w="1923923">
                  <a:extLst>
                    <a:ext uri="{9D8B030D-6E8A-4147-A177-3AD203B41FA5}">
                      <a16:colId xmlns:a16="http://schemas.microsoft.com/office/drawing/2014/main" val="20002"/>
                    </a:ext>
                  </a:extLst>
                </a:gridCol>
                <a:gridCol w="1923923">
                  <a:extLst>
                    <a:ext uri="{9D8B030D-6E8A-4147-A177-3AD203B41FA5}">
                      <a16:colId xmlns:a16="http://schemas.microsoft.com/office/drawing/2014/main" val="20003"/>
                    </a:ext>
                  </a:extLst>
                </a:gridCol>
                <a:gridCol w="1923923">
                  <a:extLst>
                    <a:ext uri="{9D8B030D-6E8A-4147-A177-3AD203B41FA5}">
                      <a16:colId xmlns:a16="http://schemas.microsoft.com/office/drawing/2014/main" val="20006"/>
                    </a:ext>
                  </a:extLst>
                </a:gridCol>
                <a:gridCol w="1923923">
                  <a:extLst>
                    <a:ext uri="{9D8B030D-6E8A-4147-A177-3AD203B41FA5}">
                      <a16:colId xmlns:a16="http://schemas.microsoft.com/office/drawing/2014/main" val="20008"/>
                    </a:ext>
                  </a:extLst>
                </a:gridCol>
              </a:tblGrid>
              <a:tr h="182164">
                <a:tc>
                  <a:txBody>
                    <a:bodyPr/>
                    <a:lstStyle/>
                    <a:p>
                      <a:pPr algn="r">
                        <a:lnSpc>
                          <a:spcPct val="100000"/>
                        </a:lnSpc>
                      </a:pPr>
                      <a:r>
                        <a:rPr lang="en-US" sz="1100">
                          <a:latin typeface="Slate Pro" panose="02000506040000020004" pitchFamily="2" charset="0"/>
                          <a:cs typeface="Times New Roman"/>
                          <a:sym typeface="Slate Pro" panose="02000506040000020004" pitchFamily="2" charset="0"/>
                        </a:rPr>
                        <a:t>Partner Tier</a:t>
                      </a:r>
                      <a:endParaRPr sz="1100">
                        <a:latin typeface="Slate Pro" panose="02000506040000020004" pitchFamily="2" charset="0"/>
                        <a:cs typeface="Times New Roman"/>
                        <a:sym typeface="Slate Pro" panose="02000506040000020004" pitchFamily="2" charset="0"/>
                      </a:endParaRPr>
                    </a:p>
                  </a:txBody>
                  <a:tcPr marL="0" marT="0" marB="0" anchor="ctr">
                    <a:lnR w="12700" cap="flat" cmpd="sng" algn="ctr">
                      <a:solidFill>
                        <a:schemeClr val="tx1"/>
                      </a:solidFill>
                      <a:prstDash val="solid"/>
                      <a:round/>
                      <a:headEnd type="none" w="med" len="med"/>
                      <a:tailEnd type="none" w="med" len="med"/>
                    </a:lnR>
                  </a:tcPr>
                </a:tc>
                <a:tc gridSpan="2">
                  <a:txBody>
                    <a:bodyPr/>
                    <a:lstStyle/>
                    <a:p>
                      <a:pPr marL="0" marR="8890" algn="ctr">
                        <a:lnSpc>
                          <a:spcPts val="1015"/>
                        </a:lnSpc>
                      </a:pPr>
                      <a:r>
                        <a:rPr lang="en-US" sz="1100" b="1">
                          <a:solidFill>
                            <a:schemeClr val="bg1"/>
                          </a:solidFill>
                          <a:latin typeface="Slate Pro" panose="02000506040000020004" pitchFamily="2" charset="0"/>
                          <a:ea typeface="+mn-ea"/>
                          <a:cs typeface="Calibri" panose="020F0502020204030204" pitchFamily="34" charset="0"/>
                          <a:sym typeface="Slate Pro" panose="02000506040000020004" pitchFamily="2" charset="0"/>
                        </a:rPr>
                        <a:t>Silver</a:t>
                      </a:r>
                      <a:endParaRPr sz="1100" b="1">
                        <a:solidFill>
                          <a:schemeClr val="bg1"/>
                        </a:solidFill>
                        <a:latin typeface="Slate Pro" panose="02000506040000020004" pitchFamily="2" charset="0"/>
                        <a:ea typeface="+mn-ea"/>
                        <a:cs typeface="Calibri" panose="020F0502020204030204" pitchFamily="34" charset="0"/>
                        <a:sym typeface="Slate Pro" panose="02000506040000020004" pitchFamily="2" charset="0"/>
                      </a:endParaRPr>
                    </a:p>
                  </a:txBody>
                  <a:tcPr marL="45720" marR="45720" marT="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FABAB"/>
                    </a:solidFill>
                  </a:tcPr>
                </a:tc>
                <a:tc hMerge="1">
                  <a:txBody>
                    <a:bodyPr/>
                    <a:lstStyle/>
                    <a:p>
                      <a:pPr marR="10160" algn="ctr">
                        <a:lnSpc>
                          <a:spcPts val="1015"/>
                        </a:lnSpc>
                      </a:pPr>
                      <a:r>
                        <a:rPr lang="en-US" sz="1200" dirty="0">
                          <a:latin typeface="Proxima Nova Rg" panose="02000506030000020004" pitchFamily="50" charset="0"/>
                          <a:cs typeface="Arial"/>
                        </a:rPr>
                        <a:t>Gold</a:t>
                      </a:r>
                      <a:endParaRPr sz="1200" dirty="0">
                        <a:latin typeface="Proxima Nova Rg" panose="02000506030000020004" pitchFamily="50" charset="0"/>
                        <a:cs typeface="Arial"/>
                      </a:endParaRPr>
                    </a:p>
                  </a:txBody>
                  <a:tcPr marL="0" marR="0" marT="0" marB="0" anchor="ctr"/>
                </a:tc>
                <a:tc gridSpan="2">
                  <a:txBody>
                    <a:bodyPr/>
                    <a:lstStyle/>
                    <a:p>
                      <a:pPr marL="0" marR="8890" algn="ctr">
                        <a:lnSpc>
                          <a:spcPts val="1015"/>
                        </a:lnSpc>
                      </a:pPr>
                      <a:r>
                        <a:rPr lang="en-US" sz="1100" b="1">
                          <a:solidFill>
                            <a:schemeClr val="bg1"/>
                          </a:solidFill>
                          <a:latin typeface="Slate Pro" panose="02000506040000020004" pitchFamily="2" charset="0"/>
                          <a:ea typeface="+mn-ea"/>
                          <a:cs typeface="Calibri" panose="020F0502020204030204" pitchFamily="34" charset="0"/>
                          <a:sym typeface="Slate Pro" panose="02000506040000020004" pitchFamily="2" charset="0"/>
                        </a:rPr>
                        <a:t>Gold</a:t>
                      </a:r>
                      <a:endParaRPr sz="1100" b="1">
                        <a:solidFill>
                          <a:schemeClr val="bg1"/>
                        </a:solidFill>
                        <a:latin typeface="Slate Pro" panose="02000506040000020004" pitchFamily="2" charset="0"/>
                        <a:ea typeface="+mn-ea"/>
                        <a:cs typeface="Calibri" panose="020F0502020204030204" pitchFamily="34" charset="0"/>
                        <a:sym typeface="Slate Pro" panose="02000506040000020004" pitchFamily="2" charset="0"/>
                      </a:endParaRPr>
                    </a:p>
                  </a:txBody>
                  <a:tcPr marL="45720" marR="45720" marT="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B737"/>
                    </a:solidFill>
                  </a:tcPr>
                </a:tc>
                <a:tc hMerge="1">
                  <a:txBody>
                    <a:bodyPr/>
                    <a:lstStyle/>
                    <a:p>
                      <a:pPr marR="10160" algn="ctr">
                        <a:lnSpc>
                          <a:spcPts val="1015"/>
                        </a:lnSpc>
                      </a:pPr>
                      <a:endParaRPr sz="1200" dirty="0">
                        <a:latin typeface="Proxima Nova Rg" panose="02000506030000020004" pitchFamily="50" charset="0"/>
                        <a:cs typeface="Arial"/>
                      </a:endParaRPr>
                    </a:p>
                  </a:txBody>
                  <a:tcPr marL="0" marR="0" marT="0" marB="0" anchor="ctr"/>
                </a:tc>
                <a:extLst>
                  <a:ext uri="{0D108BD9-81ED-4DB2-BD59-A6C34878D82A}">
                    <a16:rowId xmlns:a16="http://schemas.microsoft.com/office/drawing/2014/main" val="2990255961"/>
                  </a:ext>
                </a:extLst>
              </a:tr>
              <a:tr h="182164">
                <a:tc>
                  <a:txBody>
                    <a:bodyPr/>
                    <a:lstStyle/>
                    <a:p>
                      <a:pPr algn="r">
                        <a:lnSpc>
                          <a:spcPct val="100000"/>
                        </a:lnSpc>
                      </a:pPr>
                      <a:r>
                        <a:rPr lang="en-US" sz="1100">
                          <a:latin typeface="Slate Pro" panose="02000506040000020004" pitchFamily="2" charset="0"/>
                          <a:cs typeface="Times New Roman"/>
                          <a:sym typeface="Slate Pro" panose="02000506040000020004" pitchFamily="2" charset="0"/>
                        </a:rPr>
                        <a:t>Market Size</a:t>
                      </a:r>
                      <a:endParaRPr sz="1100">
                        <a:latin typeface="Slate Pro" panose="02000506040000020004" pitchFamily="2" charset="0"/>
                        <a:cs typeface="Times New Roman"/>
                        <a:sym typeface="Slate Pro" panose="02000506040000020004" pitchFamily="2" charset="0"/>
                      </a:endParaRPr>
                    </a:p>
                  </a:txBody>
                  <a:tcPr marL="0" marT="0" marB="0" anchor="ctr">
                    <a:lnR w="12700" cap="flat" cmpd="sng" algn="ctr">
                      <a:solidFill>
                        <a:schemeClr val="tx1"/>
                      </a:solidFill>
                      <a:prstDash val="solid"/>
                      <a:round/>
                      <a:headEnd type="none" w="med" len="med"/>
                      <a:tailEnd type="none" w="med" len="med"/>
                    </a:lnR>
                  </a:tcPr>
                </a:tc>
                <a:tc>
                  <a:txBody>
                    <a:bodyPr/>
                    <a:lstStyle/>
                    <a:p>
                      <a:pPr marR="8890" algn="ctr">
                        <a:lnSpc>
                          <a:spcPts val="1015"/>
                        </a:lnSpc>
                      </a:pPr>
                      <a:r>
                        <a:rPr lang="en-US" sz="1100" b="1" spc="-20" dirty="0">
                          <a:solidFill>
                            <a:schemeClr val="tx1"/>
                          </a:solidFill>
                          <a:latin typeface="Slate Pro" panose="02000506040000020004" pitchFamily="2" charset="0"/>
                          <a:cs typeface="Arial"/>
                          <a:sym typeface="Slate Pro" panose="02000506040000020004" pitchFamily="2" charset="0"/>
                        </a:rPr>
                        <a:t>Small</a:t>
                      </a:r>
                      <a:endParaRPr sz="1100" dirty="0">
                        <a:solidFill>
                          <a:schemeClr val="tx1"/>
                        </a:solidFill>
                        <a:latin typeface="Slate Pro" panose="02000506040000020004" pitchFamily="2" charset="0"/>
                        <a:cs typeface="Arial"/>
                        <a:sym typeface="Slate Pro" panose="02000506040000020004" pitchFamily="2" charset="0"/>
                      </a:endParaRPr>
                    </a:p>
                  </a:txBody>
                  <a:tcPr marL="0" marR="0" marT="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10160" algn="ctr">
                        <a:lnSpc>
                          <a:spcPts val="1015"/>
                        </a:lnSpc>
                      </a:pPr>
                      <a:r>
                        <a:rPr lang="en-US" sz="1100" b="1" spc="-10">
                          <a:solidFill>
                            <a:schemeClr val="tx1"/>
                          </a:solidFill>
                          <a:latin typeface="Slate Pro" panose="02000506040000020004" pitchFamily="2" charset="0"/>
                          <a:cs typeface="Arial"/>
                          <a:sym typeface="Slate Pro" panose="02000506040000020004" pitchFamily="2" charset="0"/>
                        </a:rPr>
                        <a:t>Large</a:t>
                      </a:r>
                      <a:endParaRPr sz="1100">
                        <a:solidFill>
                          <a:schemeClr val="tx1"/>
                        </a:solidFill>
                        <a:latin typeface="Slate Pro" panose="02000506040000020004" pitchFamily="2" charset="0"/>
                        <a:cs typeface="Arial"/>
                        <a:sym typeface="Slate Pro" panose="02000506040000020004" pitchFamily="2" charset="0"/>
                      </a:endParaRPr>
                    </a:p>
                  </a:txBody>
                  <a:tcPr marL="0" marR="0" marT="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8890" algn="ctr">
                        <a:lnSpc>
                          <a:spcPts val="1015"/>
                        </a:lnSpc>
                      </a:pPr>
                      <a:r>
                        <a:rPr lang="en-US" sz="1100" b="1" spc="-20">
                          <a:solidFill>
                            <a:schemeClr val="tx1"/>
                          </a:solidFill>
                          <a:latin typeface="Slate Pro" panose="02000506040000020004" pitchFamily="2" charset="0"/>
                          <a:cs typeface="Arial"/>
                          <a:sym typeface="Slate Pro" panose="02000506040000020004" pitchFamily="2" charset="0"/>
                        </a:rPr>
                        <a:t>Small</a:t>
                      </a:r>
                      <a:endParaRPr sz="1100">
                        <a:solidFill>
                          <a:schemeClr val="tx1"/>
                        </a:solidFill>
                        <a:latin typeface="Slate Pro" panose="02000506040000020004" pitchFamily="2" charset="0"/>
                        <a:cs typeface="Arial"/>
                        <a:sym typeface="Slate Pro" panose="02000506040000020004" pitchFamily="2" charset="0"/>
                      </a:endParaRPr>
                    </a:p>
                  </a:txBody>
                  <a:tcPr marL="0" marR="0" marT="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10160" algn="ctr">
                        <a:lnSpc>
                          <a:spcPts val="1015"/>
                        </a:lnSpc>
                      </a:pPr>
                      <a:r>
                        <a:rPr lang="en-US" sz="1100" b="1" spc="-10">
                          <a:solidFill>
                            <a:schemeClr val="tx1"/>
                          </a:solidFill>
                          <a:latin typeface="Slate Pro" panose="02000506040000020004" pitchFamily="2" charset="0"/>
                          <a:cs typeface="Arial"/>
                          <a:sym typeface="Slate Pro" panose="02000506040000020004" pitchFamily="2" charset="0"/>
                        </a:rPr>
                        <a:t>Large</a:t>
                      </a:r>
                      <a:endParaRPr sz="1100">
                        <a:solidFill>
                          <a:schemeClr val="tx1"/>
                        </a:solidFill>
                        <a:latin typeface="Slate Pro" panose="02000506040000020004" pitchFamily="2" charset="0"/>
                        <a:cs typeface="Arial"/>
                        <a:sym typeface="Slate Pro" panose="02000506040000020004" pitchFamily="2" charset="0"/>
                      </a:endParaRPr>
                    </a:p>
                  </a:txBody>
                  <a:tcPr marL="0" marR="0" marT="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7055529"/>
                  </a:ext>
                </a:extLst>
              </a:tr>
              <a:tr h="0">
                <a:tc>
                  <a:txBody>
                    <a:bodyPr/>
                    <a:lstStyle/>
                    <a:p>
                      <a:pPr marL="71755" algn="l">
                        <a:lnSpc>
                          <a:spcPct val="100000"/>
                        </a:lnSpc>
                        <a:spcBef>
                          <a:spcPts val="855"/>
                        </a:spcBef>
                      </a:pPr>
                      <a:r>
                        <a:rPr lang="en-US" sz="1100" b="1" dirty="0">
                          <a:solidFill>
                            <a:schemeClr val="bg1"/>
                          </a:solidFill>
                          <a:latin typeface="Slate Pro" panose="02000506040000020004" pitchFamily="2" charset="0"/>
                          <a:cs typeface="Arial"/>
                          <a:sym typeface="Slate Pro" panose="02000506040000020004" pitchFamily="2" charset="0"/>
                        </a:rPr>
                        <a:t>Annual Bookings Target</a:t>
                      </a:r>
                      <a:endParaRPr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R w="12700" cap="flat" cmpd="sng" algn="ctr">
                      <a:solidFill>
                        <a:schemeClr val="tx1"/>
                      </a:solidFill>
                      <a:prstDash val="solid"/>
                      <a:round/>
                      <a:headEnd type="none" w="med" len="med"/>
                      <a:tailEnd type="none" w="med" len="med"/>
                    </a:lnR>
                    <a:lnB w="6350" cap="flat" cmpd="sng" algn="ctr">
                      <a:solidFill>
                        <a:srgbClr val="868A8C"/>
                      </a:solidFill>
                      <a:prstDash val="solid"/>
                      <a:round/>
                      <a:headEnd type="none" w="med" len="med"/>
                      <a:tailEnd type="none" w="med" len="med"/>
                    </a:lnB>
                    <a:solidFill>
                      <a:schemeClr val="accent1"/>
                    </a:solidFill>
                  </a:tcPr>
                </a:tc>
                <a:tc>
                  <a:txBody>
                    <a:bodyPr/>
                    <a:lstStyle/>
                    <a:p>
                      <a:pPr marL="71755" marR="0" lvl="0" indent="0" algn="ctr" defTabSz="914400" eaLnBrk="1" fontAlgn="auto" latinLnBrk="0" hangingPunct="1">
                        <a:lnSpc>
                          <a:spcPct val="100000"/>
                        </a:lnSpc>
                        <a:spcBef>
                          <a:spcPts val="625"/>
                        </a:spcBef>
                        <a:spcAft>
                          <a:spcPts val="0"/>
                        </a:spcAft>
                        <a:buClrTx/>
                        <a:buSzTx/>
                        <a:buFontTx/>
                        <a:buNone/>
                        <a:tabLst/>
                        <a:defRPr/>
                      </a:pPr>
                      <a:r>
                        <a:rPr lang="en-US" sz="1100" spc="-10">
                          <a:solidFill>
                            <a:schemeClr val="tx1"/>
                          </a:solidFill>
                          <a:latin typeface="Slate Pro" panose="02000506040000020004" pitchFamily="2" charset="0"/>
                          <a:ea typeface="+mn-ea"/>
                          <a:cs typeface="Arial"/>
                          <a:sym typeface="Slate Pro" panose="02000506040000020004" pitchFamily="2" charset="0"/>
                        </a:rPr>
                        <a:t>$50,000-$250,00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71755" algn="ctr">
                        <a:lnSpc>
                          <a:spcPct val="100000"/>
                        </a:lnSpc>
                        <a:spcBef>
                          <a:spcPts val="625"/>
                        </a:spcBef>
                      </a:pPr>
                      <a:r>
                        <a:rPr lang="en-US" sz="1100" spc="-10">
                          <a:solidFill>
                            <a:schemeClr val="tx1"/>
                          </a:solidFill>
                          <a:latin typeface="Slate Pro" panose="02000506040000020004" pitchFamily="2" charset="0"/>
                          <a:ea typeface="+mn-ea"/>
                          <a:cs typeface="Arial"/>
                          <a:sym typeface="Slate Pro" panose="02000506040000020004" pitchFamily="2" charset="0"/>
                        </a:rPr>
                        <a:t>$100,000-$500,00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71755" algn="ctr">
                        <a:lnSpc>
                          <a:spcPct val="100000"/>
                        </a:lnSpc>
                        <a:spcBef>
                          <a:spcPts val="625"/>
                        </a:spcBef>
                      </a:pPr>
                      <a:r>
                        <a:rPr lang="en-US" sz="1100" spc="-10" dirty="0">
                          <a:solidFill>
                            <a:schemeClr val="tx1"/>
                          </a:solidFill>
                          <a:latin typeface="Slate Pro" panose="02000506040000020004" pitchFamily="2" charset="0"/>
                          <a:ea typeface="+mn-ea"/>
                          <a:cs typeface="Arial"/>
                          <a:sym typeface="Slate Pro" panose="02000506040000020004" pitchFamily="2" charset="0"/>
                        </a:rPr>
                        <a:t>$250,00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71755" algn="ctr">
                        <a:lnSpc>
                          <a:spcPct val="100000"/>
                        </a:lnSpc>
                        <a:spcBef>
                          <a:spcPts val="625"/>
                        </a:spcBef>
                      </a:pPr>
                      <a:r>
                        <a:rPr lang="en-US" sz="1100" spc="-10" dirty="0">
                          <a:solidFill>
                            <a:schemeClr val="tx1"/>
                          </a:solidFill>
                          <a:latin typeface="Slate Pro" panose="02000506040000020004" pitchFamily="2" charset="0"/>
                          <a:ea typeface="+mn-ea"/>
                          <a:cs typeface="Arial"/>
                          <a:sym typeface="Slate Pro" panose="02000506040000020004" pitchFamily="2" charset="0"/>
                        </a:rPr>
                        <a:t>$500,00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0635405"/>
                  </a:ext>
                </a:extLst>
              </a:tr>
            </a:tbl>
          </a:graphicData>
        </a:graphic>
      </p:graphicFrame>
      <p:sp>
        <p:nvSpPr>
          <p:cNvPr id="11" name="object 6">
            <a:extLst>
              <a:ext uri="{FF2B5EF4-FFF2-40B4-BE49-F238E27FC236}">
                <a16:creationId xmlns:a16="http://schemas.microsoft.com/office/drawing/2014/main" id="{CA7E3816-E5EB-C67A-E2DE-848A5D4BE5FD}"/>
              </a:ext>
            </a:extLst>
          </p:cNvPr>
          <p:cNvSpPr txBox="1"/>
          <p:nvPr/>
        </p:nvSpPr>
        <p:spPr>
          <a:xfrm>
            <a:off x="518298" y="4641594"/>
            <a:ext cx="4485503" cy="289823"/>
          </a:xfrm>
          <a:prstGeom prst="rect">
            <a:avLst/>
          </a:prstGeom>
        </p:spPr>
        <p:txBody>
          <a:bodyPr vert="horz" wrap="square" lIns="0" tIns="12700" rIns="0" bIns="0" rtlCol="0">
            <a:spAutoFit/>
          </a:bodyPr>
          <a:lstStyle/>
          <a:p>
            <a:pPr marL="12700" algn="l">
              <a:spcBef>
                <a:spcPts val="100"/>
              </a:spcBef>
            </a:pPr>
            <a:r>
              <a:rPr b="1" spc="-50" dirty="0">
                <a:latin typeface="Slate Pro" panose="02000506040000020004" pitchFamily="2" charset="0"/>
                <a:cs typeface="Arial"/>
                <a:sym typeface="Slate Pro" panose="02000506040000020004" pitchFamily="2" charset="0"/>
              </a:rPr>
              <a:t>Performance</a:t>
            </a:r>
            <a:r>
              <a:rPr b="1" spc="-45" dirty="0">
                <a:latin typeface="Slate Pro" panose="02000506040000020004" pitchFamily="2" charset="0"/>
                <a:cs typeface="Arial"/>
                <a:sym typeface="Slate Pro" panose="02000506040000020004" pitchFamily="2" charset="0"/>
              </a:rPr>
              <a:t> </a:t>
            </a:r>
            <a:r>
              <a:rPr b="1" spc="-10" dirty="0">
                <a:latin typeface="Slate Pro" panose="02000506040000020004" pitchFamily="2" charset="0"/>
                <a:cs typeface="Arial"/>
                <a:sym typeface="Slate Pro" panose="02000506040000020004" pitchFamily="2" charset="0"/>
              </a:rPr>
              <a:t>Matrix</a:t>
            </a:r>
            <a:endParaRPr dirty="0">
              <a:latin typeface="Slate Pro" panose="02000506040000020004" pitchFamily="2" charset="0"/>
              <a:cs typeface="Arial"/>
              <a:sym typeface="Slate Pro" panose="02000506040000020004" pitchFamily="2" charset="0"/>
            </a:endParaRPr>
          </a:p>
        </p:txBody>
      </p:sp>
      <p:sp>
        <p:nvSpPr>
          <p:cNvPr id="12" name="object 6">
            <a:extLst>
              <a:ext uri="{FF2B5EF4-FFF2-40B4-BE49-F238E27FC236}">
                <a16:creationId xmlns:a16="http://schemas.microsoft.com/office/drawing/2014/main" id="{A264B2DD-307F-19AF-A82D-D6D9A89359AC}"/>
              </a:ext>
            </a:extLst>
          </p:cNvPr>
          <p:cNvSpPr txBox="1"/>
          <p:nvPr/>
        </p:nvSpPr>
        <p:spPr>
          <a:xfrm>
            <a:off x="518298" y="1035327"/>
            <a:ext cx="5225110" cy="289823"/>
          </a:xfrm>
          <a:prstGeom prst="rect">
            <a:avLst/>
          </a:prstGeom>
        </p:spPr>
        <p:txBody>
          <a:bodyPr vert="horz" wrap="square" lIns="0" tIns="12700" rIns="0" bIns="0" rtlCol="0">
            <a:spAutoFit/>
          </a:bodyPr>
          <a:lstStyle/>
          <a:p>
            <a:pPr marL="12700" algn="l">
              <a:spcBef>
                <a:spcPts val="100"/>
              </a:spcBef>
            </a:pPr>
            <a:r>
              <a:rPr lang="en-US" b="1" spc="-50" dirty="0">
                <a:latin typeface="Slate Pro" panose="02000506040000020004" pitchFamily="2" charset="0"/>
                <a:cs typeface="Arial"/>
                <a:sym typeface="Slate Pro" panose="02000506040000020004" pitchFamily="2" charset="0"/>
              </a:rPr>
              <a:t>Contracts and Certification Requirements</a:t>
            </a:r>
            <a:endParaRPr dirty="0">
              <a:latin typeface="Slate Pro" panose="02000506040000020004" pitchFamily="2" charset="0"/>
              <a:cs typeface="Arial"/>
              <a:sym typeface="Slate Pro" panose="02000506040000020004" pitchFamily="2" charset="0"/>
            </a:endParaRPr>
          </a:p>
        </p:txBody>
      </p:sp>
      <p:sp>
        <p:nvSpPr>
          <p:cNvPr id="10" name="TextBox 9">
            <a:extLst>
              <a:ext uri="{FF2B5EF4-FFF2-40B4-BE49-F238E27FC236}">
                <a16:creationId xmlns:a16="http://schemas.microsoft.com/office/drawing/2014/main" id="{14524E80-32FB-9007-DB6D-8C65FDB0DAE8}"/>
              </a:ext>
            </a:extLst>
          </p:cNvPr>
          <p:cNvSpPr txBox="1"/>
          <p:nvPr/>
        </p:nvSpPr>
        <p:spPr>
          <a:xfrm>
            <a:off x="496483" y="6019282"/>
            <a:ext cx="9703333" cy="646331"/>
          </a:xfrm>
          <a:prstGeom prst="rect">
            <a:avLst/>
          </a:prstGeom>
          <a:noFill/>
        </p:spPr>
        <p:txBody>
          <a:bodyPr wrap="square" rtlCol="0">
            <a:spAutoFit/>
          </a:bodyPr>
          <a:lstStyle/>
          <a:p>
            <a:pPr algn="l"/>
            <a:r>
              <a:rPr lang="en-US" sz="1200" b="1" dirty="0">
                <a:latin typeface="Slate Pro" panose="02000506040000020004" pitchFamily="2" charset="0"/>
                <a:sym typeface="Slate Pro" panose="02000506040000020004" pitchFamily="2" charset="0"/>
              </a:rPr>
              <a:t>Note: </a:t>
            </a:r>
            <a:r>
              <a:rPr lang="en-US" sz="1200" dirty="0">
                <a:latin typeface="Slate Pro" panose="02000506040000020004" pitchFamily="2" charset="0"/>
                <a:sym typeface="Slate Pro" panose="02000506040000020004" pitchFamily="2" charset="0"/>
              </a:rPr>
              <a:t>Annual bookings targets are subject to change. Targets are based on the total of the average annual contract value for </a:t>
            </a:r>
            <a:br>
              <a:rPr lang="en-US" sz="1200" dirty="0">
                <a:latin typeface="Slate Pro" panose="02000506040000020004" pitchFamily="2" charset="0"/>
                <a:sym typeface="Slate Pro" panose="02000506040000020004" pitchFamily="2" charset="0"/>
              </a:rPr>
            </a:br>
            <a:r>
              <a:rPr lang="en-US" sz="1200" dirty="0">
                <a:latin typeface="Slate Pro" panose="02000506040000020004" pitchFamily="2" charset="0"/>
                <a:sym typeface="Slate Pro" panose="02000506040000020004" pitchFamily="2" charset="0"/>
              </a:rPr>
              <a:t>all deals booked by a Partner. For example, if a Partner books 10 deals with an average ACV of $50K per deal, they will have generated $500K in </a:t>
            </a:r>
            <a:br>
              <a:rPr lang="en-US" sz="1200" dirty="0">
                <a:latin typeface="Slate Pro" panose="02000506040000020004" pitchFamily="2" charset="0"/>
                <a:sym typeface="Slate Pro" panose="02000506040000020004" pitchFamily="2" charset="0"/>
              </a:rPr>
            </a:br>
            <a:r>
              <a:rPr lang="en-US" sz="1200" dirty="0">
                <a:latin typeface="Slate Pro" panose="02000506040000020004" pitchFamily="2" charset="0"/>
                <a:sym typeface="Slate Pro" panose="02000506040000020004" pitchFamily="2" charset="0"/>
              </a:rPr>
              <a:t>annual bookings.</a:t>
            </a:r>
          </a:p>
        </p:txBody>
      </p:sp>
      <p:grpSp>
        <p:nvGrpSpPr>
          <p:cNvPr id="15" name="Group 14">
            <a:extLst>
              <a:ext uri="{FF2B5EF4-FFF2-40B4-BE49-F238E27FC236}">
                <a16:creationId xmlns:a16="http://schemas.microsoft.com/office/drawing/2014/main" id="{333FEA16-0B71-41D4-2EA4-E22818F2CD1F}"/>
              </a:ext>
            </a:extLst>
          </p:cNvPr>
          <p:cNvGrpSpPr/>
          <p:nvPr/>
        </p:nvGrpSpPr>
        <p:grpSpPr>
          <a:xfrm>
            <a:off x="157427" y="7205390"/>
            <a:ext cx="2416310" cy="276999"/>
            <a:chOff x="157428" y="7205390"/>
            <a:chExt cx="2132373" cy="276999"/>
          </a:xfrm>
        </p:grpSpPr>
        <p:sp>
          <p:nvSpPr>
            <p:cNvPr id="17" name="TextBox 16">
              <a:hlinkClick r:id="rId6" action="ppaction://hlinksldjump"/>
              <a:extLst>
                <a:ext uri="{FF2B5EF4-FFF2-40B4-BE49-F238E27FC236}">
                  <a16:creationId xmlns:a16="http://schemas.microsoft.com/office/drawing/2014/main" id="{ABCE5D25-1512-F743-112B-71662B933566}"/>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8" name="Arrow: Right 17">
              <a:extLst>
                <a:ext uri="{FF2B5EF4-FFF2-40B4-BE49-F238E27FC236}">
                  <a16:creationId xmlns:a16="http://schemas.microsoft.com/office/drawing/2014/main" id="{5D3677D1-BE15-3551-E47E-A06BA2B6EB78}"/>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217922740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0B2C4AD-68BD-31A2-298D-5C85E17E6F35}"/>
              </a:ext>
            </a:extLst>
          </p:cNvPr>
          <p:cNvGraphicFramePr>
            <a:graphicFrameLocks noChangeAspect="1"/>
          </p:cNvGraphicFramePr>
          <p:nvPr>
            <p:custDataLst>
              <p:tags r:id="rId1"/>
            </p:custDataLst>
            <p:extLst>
              <p:ext uri="{D42A27DB-BD31-4B8C-83A1-F6EECF244321}">
                <p14:modId xmlns:p14="http://schemas.microsoft.com/office/powerpoint/2010/main" val="1935471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Object 10" hidden="1">
                        <a:extLst>
                          <a:ext uri="{FF2B5EF4-FFF2-40B4-BE49-F238E27FC236}">
                            <a16:creationId xmlns:a16="http://schemas.microsoft.com/office/drawing/2014/main" id="{50B2C4AD-68BD-31A2-298D-5C85E17E6F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object 2"/>
          <p:cNvGraphicFramePr>
            <a:graphicFrameLocks noGrp="1"/>
          </p:cNvGraphicFramePr>
          <p:nvPr>
            <p:extLst>
              <p:ext uri="{D42A27DB-BD31-4B8C-83A1-F6EECF244321}">
                <p14:modId xmlns:p14="http://schemas.microsoft.com/office/powerpoint/2010/main" val="780687979"/>
              </p:ext>
            </p:extLst>
          </p:nvPr>
        </p:nvGraphicFramePr>
        <p:xfrm>
          <a:off x="531176" y="1578763"/>
          <a:ext cx="9631046" cy="5176339"/>
        </p:xfrm>
        <a:graphic>
          <a:graphicData uri="http://schemas.openxmlformats.org/drawingml/2006/table">
            <a:tbl>
              <a:tblPr firstRow="1" bandRow="1">
                <a:tableStyleId>{2D5ABB26-0587-4C30-8999-92F81FD0307C}</a:tableStyleId>
              </a:tblPr>
              <a:tblGrid>
                <a:gridCol w="973774">
                  <a:extLst>
                    <a:ext uri="{9D8B030D-6E8A-4147-A177-3AD203B41FA5}">
                      <a16:colId xmlns:a16="http://schemas.microsoft.com/office/drawing/2014/main" val="1541823896"/>
                    </a:ext>
                  </a:extLst>
                </a:gridCol>
                <a:gridCol w="1409700">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952500">
                  <a:extLst>
                    <a:ext uri="{9D8B030D-6E8A-4147-A177-3AD203B41FA5}">
                      <a16:colId xmlns:a16="http://schemas.microsoft.com/office/drawing/2014/main" val="20004"/>
                    </a:ext>
                  </a:extLst>
                </a:gridCol>
                <a:gridCol w="1104900">
                  <a:extLst>
                    <a:ext uri="{9D8B030D-6E8A-4147-A177-3AD203B41FA5}">
                      <a16:colId xmlns:a16="http://schemas.microsoft.com/office/drawing/2014/main" val="20006"/>
                    </a:ext>
                  </a:extLst>
                </a:gridCol>
                <a:gridCol w="1057275">
                  <a:extLst>
                    <a:ext uri="{9D8B030D-6E8A-4147-A177-3AD203B41FA5}">
                      <a16:colId xmlns:a16="http://schemas.microsoft.com/office/drawing/2014/main" val="20008"/>
                    </a:ext>
                  </a:extLst>
                </a:gridCol>
                <a:gridCol w="1276350">
                  <a:extLst>
                    <a:ext uri="{9D8B030D-6E8A-4147-A177-3AD203B41FA5}">
                      <a16:colId xmlns:a16="http://schemas.microsoft.com/office/drawing/2014/main" val="20009"/>
                    </a:ext>
                  </a:extLst>
                </a:gridCol>
                <a:gridCol w="857250">
                  <a:extLst>
                    <a:ext uri="{9D8B030D-6E8A-4147-A177-3AD203B41FA5}">
                      <a16:colId xmlns:a16="http://schemas.microsoft.com/office/drawing/2014/main" val="840929084"/>
                    </a:ext>
                  </a:extLst>
                </a:gridCol>
                <a:gridCol w="1084897">
                  <a:extLst>
                    <a:ext uri="{9D8B030D-6E8A-4147-A177-3AD203B41FA5}">
                      <a16:colId xmlns:a16="http://schemas.microsoft.com/office/drawing/2014/main" val="1213372690"/>
                    </a:ext>
                  </a:extLst>
                </a:gridCol>
              </a:tblGrid>
              <a:tr h="781770">
                <a:tc>
                  <a:txBody>
                    <a:bodyPr/>
                    <a:lstStyle/>
                    <a:p>
                      <a:pPr marL="0" indent="0" algn="l">
                        <a:lnSpc>
                          <a:spcPct val="100000"/>
                        </a:lnSpc>
                        <a:spcBef>
                          <a:spcPts val="545"/>
                        </a:spcBef>
                      </a:pPr>
                      <a:r>
                        <a:rPr lang="en-US" sz="1100" b="1" dirty="0">
                          <a:solidFill>
                            <a:schemeClr val="bg1"/>
                          </a:solidFill>
                          <a:latin typeface="Slate Pro" panose="02000506040000020004" pitchFamily="2" charset="0"/>
                          <a:cs typeface="Arial"/>
                          <a:sym typeface="Slate Pro" panose="02000506040000020004" pitchFamily="2" charset="0"/>
                        </a:rPr>
                        <a:t>Partner Type</a:t>
                      </a:r>
                      <a:endParaRPr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solidFill>
                      <a:srgbClr val="5987C6"/>
                    </a:solidFill>
                  </a:tcPr>
                </a:tc>
                <a:tc>
                  <a:txBody>
                    <a:bodyPr/>
                    <a:lstStyle/>
                    <a:p>
                      <a:pPr marL="0" indent="0" algn="l">
                        <a:lnSpc>
                          <a:spcPct val="100000"/>
                        </a:lnSpc>
                        <a:spcBef>
                          <a:spcPts val="545"/>
                        </a:spcBef>
                      </a:pPr>
                      <a:r>
                        <a:rPr lang="en-US" sz="1100" b="1" spc="-20" dirty="0">
                          <a:solidFill>
                            <a:schemeClr val="bg1"/>
                          </a:solidFill>
                          <a:latin typeface="Slate Pro" panose="02000506040000020004" pitchFamily="2" charset="0"/>
                          <a:cs typeface="Arial"/>
                          <a:sym typeface="Slate Pro" panose="02000506040000020004" pitchFamily="2" charset="0"/>
                        </a:rPr>
                        <a:t>Market and Tier</a:t>
                      </a:r>
                      <a:endParaRPr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a:solidFill>
                        <a:srgbClr val="878787"/>
                      </a:solidFill>
                      <a:prstDash val="solid"/>
                    </a:lnT>
                    <a:solidFill>
                      <a:srgbClr val="5987C6"/>
                    </a:solidFill>
                  </a:tcPr>
                </a:tc>
                <a:tc>
                  <a:txBody>
                    <a:bodyPr/>
                    <a:lstStyle/>
                    <a:p>
                      <a:pPr marL="17145" algn="ctr">
                        <a:lnSpc>
                          <a:spcPts val="875"/>
                        </a:lnSpc>
                      </a:pPr>
                      <a:r>
                        <a:rPr lang="en-US" sz="1100" b="1" spc="-40" dirty="0">
                          <a:solidFill>
                            <a:schemeClr val="bg1"/>
                          </a:solidFill>
                          <a:latin typeface="Slate Pro" panose="02000506040000020004" pitchFamily="2" charset="0"/>
                          <a:cs typeface="Arial"/>
                          <a:sym typeface="Slate Pro" panose="02000506040000020004" pitchFamily="2" charset="0"/>
                        </a:rPr>
                        <a:t>Deal Registration</a:t>
                      </a:r>
                      <a:endParaRPr lang="en-US"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a:solidFill>
                        <a:srgbClr val="878787"/>
                      </a:solidFill>
                      <a:prstDash val="solid"/>
                    </a:lnT>
                    <a:solidFill>
                      <a:srgbClr val="5987C6"/>
                    </a:solidFill>
                  </a:tcPr>
                </a:tc>
                <a:tc>
                  <a:txBody>
                    <a:bodyPr/>
                    <a:lstStyle/>
                    <a:p>
                      <a:pPr marL="129539" algn="ctr">
                        <a:lnSpc>
                          <a:spcPct val="100000"/>
                        </a:lnSpc>
                        <a:spcBef>
                          <a:spcPts val="545"/>
                        </a:spcBef>
                      </a:pPr>
                      <a:r>
                        <a:rPr lang="en-US" sz="1100" b="1" spc="-10" dirty="0">
                          <a:solidFill>
                            <a:schemeClr val="bg1"/>
                          </a:solidFill>
                          <a:latin typeface="Slate Pro" panose="02000506040000020004" pitchFamily="2" charset="0"/>
                          <a:cs typeface="Arial"/>
                          <a:sym typeface="Slate Pro" panose="02000506040000020004" pitchFamily="2" charset="0"/>
                        </a:rPr>
                        <a:t>Partner</a:t>
                      </a:r>
                      <a:r>
                        <a:rPr sz="1100" b="1" spc="-25" dirty="0">
                          <a:solidFill>
                            <a:schemeClr val="bg1"/>
                          </a:solidFill>
                          <a:latin typeface="Slate Pro" panose="02000506040000020004" pitchFamily="2" charset="0"/>
                          <a:cs typeface="Arial"/>
                          <a:sym typeface="Slate Pro" panose="02000506040000020004" pitchFamily="2" charset="0"/>
                        </a:rPr>
                        <a:t> </a:t>
                      </a:r>
                      <a:r>
                        <a:rPr sz="1100" b="1" spc="-10" dirty="0">
                          <a:solidFill>
                            <a:schemeClr val="bg1"/>
                          </a:solidFill>
                          <a:latin typeface="Slate Pro" panose="02000506040000020004" pitchFamily="2" charset="0"/>
                          <a:cs typeface="Arial"/>
                          <a:sym typeface="Slate Pro" panose="02000506040000020004" pitchFamily="2" charset="0"/>
                        </a:rPr>
                        <a:t>Full</a:t>
                      </a:r>
                      <a:r>
                        <a:rPr sz="1100" b="1" spc="-15" dirty="0">
                          <a:solidFill>
                            <a:schemeClr val="bg1"/>
                          </a:solidFill>
                          <a:latin typeface="Slate Pro" panose="02000506040000020004" pitchFamily="2" charset="0"/>
                          <a:cs typeface="Arial"/>
                          <a:sym typeface="Slate Pro" panose="02000506040000020004" pitchFamily="2" charset="0"/>
                        </a:rPr>
                        <a:t> </a:t>
                      </a:r>
                      <a:r>
                        <a:rPr sz="1100" b="1" spc="-35" dirty="0">
                          <a:solidFill>
                            <a:schemeClr val="bg1"/>
                          </a:solidFill>
                          <a:latin typeface="Slate Pro" panose="02000506040000020004" pitchFamily="2" charset="0"/>
                          <a:cs typeface="Arial"/>
                          <a:sym typeface="Slate Pro" panose="02000506040000020004" pitchFamily="2" charset="0"/>
                        </a:rPr>
                        <a:t>Cycle: </a:t>
                      </a:r>
                      <a:r>
                        <a:rPr sz="1100" b="1" dirty="0">
                          <a:solidFill>
                            <a:schemeClr val="bg1"/>
                          </a:solidFill>
                          <a:latin typeface="Slate Pro" panose="02000506040000020004" pitchFamily="2" charset="0"/>
                          <a:cs typeface="Arial"/>
                          <a:sym typeface="Slate Pro" panose="02000506040000020004" pitchFamily="2" charset="0"/>
                        </a:rPr>
                        <a:t>Find</a:t>
                      </a:r>
                      <a:r>
                        <a:rPr sz="1100" b="1" spc="-15" dirty="0">
                          <a:solidFill>
                            <a:schemeClr val="bg1"/>
                          </a:solidFill>
                          <a:latin typeface="Slate Pro" panose="02000506040000020004" pitchFamily="2" charset="0"/>
                          <a:cs typeface="Arial"/>
                          <a:sym typeface="Slate Pro" panose="02000506040000020004" pitchFamily="2" charset="0"/>
                        </a:rPr>
                        <a:t> </a:t>
                      </a:r>
                      <a:r>
                        <a:rPr sz="1100" b="1" dirty="0">
                          <a:solidFill>
                            <a:schemeClr val="bg1"/>
                          </a:solidFill>
                          <a:latin typeface="Slate Pro" panose="02000506040000020004" pitchFamily="2" charset="0"/>
                          <a:cs typeface="Arial"/>
                          <a:sym typeface="Slate Pro" panose="02000506040000020004" pitchFamily="2" charset="0"/>
                        </a:rPr>
                        <a:t>to</a:t>
                      </a:r>
                      <a:r>
                        <a:rPr sz="1100" b="1" spc="-20" dirty="0">
                          <a:solidFill>
                            <a:schemeClr val="bg1"/>
                          </a:solidFill>
                          <a:latin typeface="Slate Pro" panose="02000506040000020004" pitchFamily="2" charset="0"/>
                          <a:cs typeface="Arial"/>
                          <a:sym typeface="Slate Pro" panose="02000506040000020004" pitchFamily="2" charset="0"/>
                        </a:rPr>
                        <a:t> </a:t>
                      </a:r>
                      <a:r>
                        <a:rPr sz="1100" b="1" spc="-10" dirty="0">
                          <a:solidFill>
                            <a:schemeClr val="bg1"/>
                          </a:solidFill>
                          <a:latin typeface="Slate Pro" panose="02000506040000020004" pitchFamily="2" charset="0"/>
                          <a:cs typeface="Arial"/>
                          <a:sym typeface="Slate Pro" panose="02000506040000020004" pitchFamily="2" charset="0"/>
                        </a:rPr>
                        <a:t>Close</a:t>
                      </a:r>
                      <a:endParaRPr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solidFill>
                      <a:srgbClr val="5987C6"/>
                    </a:solidFill>
                  </a:tcPr>
                </a:tc>
                <a:tc>
                  <a:txBody>
                    <a:bodyPr/>
                    <a:lstStyle/>
                    <a:p>
                      <a:pPr marL="0" indent="0" algn="ctr">
                        <a:lnSpc>
                          <a:spcPct val="100000"/>
                        </a:lnSpc>
                        <a:spcBef>
                          <a:spcPts val="545"/>
                        </a:spcBef>
                      </a:pPr>
                      <a:r>
                        <a:rPr lang="en-US" sz="1100" b="1" dirty="0">
                          <a:solidFill>
                            <a:schemeClr val="bg1"/>
                          </a:solidFill>
                          <a:latin typeface="Slate Pro" panose="02000506040000020004" pitchFamily="2" charset="0"/>
                          <a:cs typeface="Arial"/>
                          <a:sym typeface="Slate Pro" panose="02000506040000020004" pitchFamily="2" charset="0"/>
                        </a:rPr>
                        <a:t>Technical </a:t>
                      </a:r>
                      <a:br>
                        <a:rPr lang="en-US" sz="1100" b="1" dirty="0">
                          <a:solidFill>
                            <a:schemeClr val="bg1"/>
                          </a:solidFill>
                          <a:latin typeface="Slate Pro" panose="02000506040000020004" pitchFamily="2" charset="0"/>
                          <a:cs typeface="Arial"/>
                          <a:sym typeface="Slate Pro" panose="02000506040000020004" pitchFamily="2" charset="0"/>
                        </a:rPr>
                      </a:br>
                      <a:r>
                        <a:rPr lang="en-US" sz="1100" b="1" dirty="0">
                          <a:solidFill>
                            <a:schemeClr val="bg1"/>
                          </a:solidFill>
                          <a:latin typeface="Slate Pro" panose="02000506040000020004" pitchFamily="2" charset="0"/>
                          <a:cs typeface="Arial"/>
                          <a:sym typeface="Slate Pro" panose="02000506040000020004" pitchFamily="2" charset="0"/>
                        </a:rPr>
                        <a:t>Pre-Sales Assistance</a:t>
                      </a:r>
                    </a:p>
                  </a:txBody>
                  <a:tcPr marL="45720" marR="45720" anchor="ctr">
                    <a:lnT w="28575" cap="flat" cmpd="sng" algn="ctr">
                      <a:solidFill>
                        <a:srgbClr val="878787"/>
                      </a:solidFill>
                      <a:prstDash val="solid"/>
                      <a:round/>
                      <a:headEnd type="none" w="med" len="med"/>
                      <a:tailEnd type="none" w="med" len="med"/>
                    </a:lnT>
                    <a:solidFill>
                      <a:srgbClr val="5987C6"/>
                    </a:solidFill>
                  </a:tcPr>
                </a:tc>
                <a:tc>
                  <a:txBody>
                    <a:bodyPr/>
                    <a:lstStyle/>
                    <a:p>
                      <a:pPr marL="7620" algn="ctr">
                        <a:lnSpc>
                          <a:spcPct val="100000"/>
                        </a:lnSpc>
                        <a:spcBef>
                          <a:spcPts val="545"/>
                        </a:spcBef>
                      </a:pPr>
                      <a:r>
                        <a:rPr lang="en-US" sz="1100" b="1" spc="-10" dirty="0">
                          <a:solidFill>
                            <a:schemeClr val="bg1"/>
                          </a:solidFill>
                          <a:latin typeface="Slate Pro" panose="02000506040000020004" pitchFamily="2" charset="0"/>
                          <a:cs typeface="Arial"/>
                          <a:sym typeface="Slate Pro" panose="02000506040000020004" pitchFamily="2" charset="0"/>
                        </a:rPr>
                        <a:t>ACME Product A Bonus</a:t>
                      </a:r>
                      <a:endParaRPr lang="en-US"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solidFill>
                      <a:srgbClr val="5987C6"/>
                    </a:solidFill>
                  </a:tcPr>
                </a:tc>
                <a:tc>
                  <a:txBody>
                    <a:bodyPr/>
                    <a:lstStyle/>
                    <a:p>
                      <a:pPr marL="7620" algn="ctr">
                        <a:lnSpc>
                          <a:spcPct val="100000"/>
                        </a:lnSpc>
                        <a:spcBef>
                          <a:spcPts val="545"/>
                        </a:spcBef>
                      </a:pPr>
                      <a:r>
                        <a:rPr lang="en-US" sz="1100" b="1" dirty="0">
                          <a:solidFill>
                            <a:schemeClr val="bg1"/>
                          </a:solidFill>
                          <a:latin typeface="Slate Pro" panose="02000506040000020004" pitchFamily="2" charset="0"/>
                          <a:cs typeface="Arial"/>
                          <a:sym typeface="Slate Pro" panose="02000506040000020004" pitchFamily="2" charset="0"/>
                        </a:rPr>
                        <a:t>Distributor Discount</a:t>
                      </a:r>
                    </a:p>
                    <a:p>
                      <a:pPr marL="7620" algn="ctr">
                        <a:lnSpc>
                          <a:spcPct val="100000"/>
                        </a:lnSpc>
                        <a:spcBef>
                          <a:spcPts val="545"/>
                        </a:spcBef>
                      </a:pPr>
                      <a:r>
                        <a:rPr lang="en-US" sz="1100" b="1" dirty="0">
                          <a:solidFill>
                            <a:schemeClr val="bg1"/>
                          </a:solidFill>
                          <a:latin typeface="Slate Pro" panose="02000506040000020004" pitchFamily="2" charset="0"/>
                          <a:cs typeface="Arial"/>
                          <a:sym typeface="Slate Pro" panose="02000506040000020004" pitchFamily="2" charset="0"/>
                        </a:rPr>
                        <a:t>(Partner sold Product A )</a:t>
                      </a:r>
                      <a:endParaRPr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a:solidFill>
                        <a:srgbClr val="878787"/>
                      </a:solidFill>
                      <a:prstDash val="solid"/>
                    </a:lnT>
                    <a:solidFill>
                      <a:srgbClr val="5987C6"/>
                    </a:solidFill>
                  </a:tcPr>
                </a:tc>
                <a:tc>
                  <a:txBody>
                    <a:bodyPr/>
                    <a:lstStyle/>
                    <a:p>
                      <a:pPr marL="7620" marR="0" lvl="0" indent="0" algn="ctr" defTabSz="91440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Slate Pro" panose="02000506040000020004" pitchFamily="2" charset="0"/>
                          <a:cs typeface="Arial"/>
                          <a:sym typeface="Slate Pro" panose="02000506040000020004" pitchFamily="2" charset="0"/>
                        </a:rPr>
                        <a:t>Referral</a:t>
                      </a:r>
                    </a:p>
                    <a:p>
                      <a:pPr marL="7620" marR="0" lvl="0" indent="0" algn="ctr" defTabSz="91440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Slate Pro" panose="02000506040000020004" pitchFamily="2" charset="0"/>
                          <a:cs typeface="Arial"/>
                          <a:sym typeface="Slate Pro" panose="02000506040000020004" pitchFamily="2" charset="0"/>
                        </a:rPr>
                        <a:t>Fee</a:t>
                      </a:r>
                    </a:p>
                  </a:txBody>
                  <a:tcPr marL="45720" marR="45720" anchor="ctr">
                    <a:lnT w="28575" cap="flat" cmpd="sng" algn="ctr">
                      <a:solidFill>
                        <a:srgbClr val="878787"/>
                      </a:solidFill>
                      <a:prstDash val="solid"/>
                      <a:round/>
                      <a:headEnd type="none" w="med" len="med"/>
                      <a:tailEnd type="none" w="med" len="med"/>
                    </a:lnT>
                    <a:solidFill>
                      <a:srgbClr val="5987C6"/>
                    </a:solidFill>
                  </a:tcPr>
                </a:tc>
                <a:tc>
                  <a:txBody>
                    <a:bodyPr/>
                    <a:lstStyle/>
                    <a:p>
                      <a:pPr marL="7620" algn="ctr">
                        <a:lnSpc>
                          <a:spcPct val="100000"/>
                        </a:lnSpc>
                        <a:spcBef>
                          <a:spcPts val="545"/>
                        </a:spcBef>
                      </a:pPr>
                      <a:r>
                        <a:rPr lang="en-US" sz="1100" b="1" dirty="0">
                          <a:solidFill>
                            <a:schemeClr val="bg1"/>
                          </a:solidFill>
                          <a:latin typeface="Slate Pro" panose="02000506040000020004" pitchFamily="2" charset="0"/>
                          <a:cs typeface="Arial"/>
                          <a:sym typeface="Slate Pro" panose="02000506040000020004" pitchFamily="2" charset="0"/>
                        </a:rPr>
                        <a:t>Max Incentive for Partner</a:t>
                      </a:r>
                      <a:endParaRPr sz="1100" b="1" dirty="0">
                        <a:solidFill>
                          <a:schemeClr val="bg1"/>
                        </a:solidFill>
                        <a:latin typeface="Slate Pro" panose="02000506040000020004" pitchFamily="2" charset="0"/>
                        <a:cs typeface="Arial"/>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solidFill>
                      <a:srgbClr val="5987C6"/>
                    </a:solidFill>
                  </a:tcPr>
                </a:tc>
                <a:extLst>
                  <a:ext uri="{0D108BD9-81ED-4DB2-BD59-A6C34878D82A}">
                    <a16:rowId xmlns:a16="http://schemas.microsoft.com/office/drawing/2014/main" val="10001"/>
                  </a:ext>
                </a:extLst>
              </a:tr>
              <a:tr h="522729">
                <a:tc rowSpan="4">
                  <a:txBody>
                    <a:bodyPr/>
                    <a:lstStyle/>
                    <a:p>
                      <a:pPr marL="50800" marR="52069" algn="l" fontAlgn="ctr">
                        <a:lnSpc>
                          <a:spcPts val="1100"/>
                        </a:lnSpc>
                        <a:spcBef>
                          <a:spcPts val="810"/>
                        </a:spcBef>
                      </a:pPr>
                      <a:r>
                        <a:rPr lang="en-US" sz="1100" b="1" spc="-20" dirty="0">
                          <a:solidFill>
                            <a:schemeClr val="tx1"/>
                          </a:solidFill>
                          <a:latin typeface="Slate Pro" panose="02000506040000020004" pitchFamily="2" charset="0"/>
                          <a:ea typeface="+mn-ea"/>
                          <a:cs typeface="Calibri"/>
                          <a:sym typeface="Slate Pro" panose="02000506040000020004" pitchFamily="2" charset="0"/>
                        </a:rPr>
                        <a:t>Reseller</a:t>
                      </a:r>
                    </a:p>
                  </a:txBody>
                  <a:tcPr marL="3175" marR="3175" marT="3175" marB="0" anchor="ctr">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dirty="0">
                          <a:solidFill>
                            <a:schemeClr val="tx1"/>
                          </a:solidFill>
                          <a:latin typeface="Slate Pro" panose="02000506040000020004" pitchFamily="2" charset="0"/>
                          <a:ea typeface="+mn-ea"/>
                          <a:cs typeface="Calibri"/>
                          <a:sym typeface="Slate Pro" panose="02000506040000020004" pitchFamily="2" charset="0"/>
                        </a:rPr>
                        <a:t>Large Market - </a:t>
                      </a:r>
                      <a:r>
                        <a:rPr lang="en-US" sz="1100" b="0" spc="-20" dirty="0">
                          <a:solidFill>
                            <a:srgbClr val="FFC000"/>
                          </a:solidFill>
                          <a:latin typeface="Slate Pro" panose="02000506040000020004" pitchFamily="2" charset="0"/>
                          <a:ea typeface="+mn-ea"/>
                          <a:cs typeface="Calibri"/>
                          <a:sym typeface="Slate Pro" panose="02000506040000020004" pitchFamily="2" charset="0"/>
                        </a:rPr>
                        <a:t>Gold</a:t>
                      </a:r>
                    </a:p>
                  </a:txBody>
                  <a:tcPr marL="3175" marR="3175" marT="3175" marB="0" anchor="ctr">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B w="6350">
                      <a:solidFill>
                        <a:srgbClr val="868A8C"/>
                      </a:solidFill>
                      <a:prstDash val="soli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16.0%</a:t>
                      </a:r>
                    </a:p>
                  </a:txBody>
                  <a:tcPr marL="3175" marR="3175" marT="3175" marB="0" anchor="ctr">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N/A</a:t>
                      </a:r>
                    </a:p>
                  </a:txBody>
                  <a:tcPr marL="3175" marR="3175" marT="3175" marB="0" anchor="ctr">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N/A</a:t>
                      </a:r>
                    </a:p>
                  </a:txBody>
                  <a:tcPr marL="3175" marR="3175" marT="3175" marB="0" anchor="ctr">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Slate Pro" panose="02000506040000020004" pitchFamily="2" charset="0"/>
                          <a:sym typeface="Slate Pro" panose="02000506040000020004" pitchFamily="2" charset="0"/>
                        </a:rPr>
                        <a:t>25.0%</a:t>
                      </a:r>
                    </a:p>
                  </a:txBody>
                  <a:tcPr marL="3175" marR="3175" marT="3175" marB="0" anchor="ctr">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2"/>
                  </a:ext>
                </a:extLst>
              </a:tr>
              <a:tr h="522729">
                <a:tc vMerge="1">
                  <a:txBody>
                    <a:bodyPr/>
                    <a:lstStyle/>
                    <a:p>
                      <a:pPr marL="50800" marR="52069" algn="l" fontAlgn="ctr">
                        <a:lnSpc>
                          <a:spcPts val="1100"/>
                        </a:lnSpc>
                        <a:spcBef>
                          <a:spcPts val="810"/>
                        </a:spcBef>
                      </a:pPr>
                      <a:endParaRPr lang="en-US" sz="1000" b="1" spc="-20" dirty="0">
                        <a:solidFill>
                          <a:srgbClr val="ABAEB7"/>
                        </a:solidFill>
                        <a:latin typeface="Proxima Nova Rg" panose="02000506030000020004" pitchFamily="50" charset="0"/>
                        <a:ea typeface="+mn-ea"/>
                        <a:cs typeface="Calibri"/>
                      </a:endParaRP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Large Market - </a:t>
                      </a:r>
                      <a:r>
                        <a:rPr lang="en-US" sz="1100" b="0" spc="-20">
                          <a:solidFill>
                            <a:srgbClr val="ABAEB7"/>
                          </a:solidFill>
                          <a:latin typeface="Slate Pro" panose="02000506040000020004" pitchFamily="2" charset="0"/>
                          <a:ea typeface="+mn-ea"/>
                          <a:cs typeface="Calibri"/>
                          <a:sym typeface="Slate Pro" panose="02000506040000020004" pitchFamily="2" charset="0"/>
                        </a:rPr>
                        <a:t>Silver</a:t>
                      </a:r>
                    </a:p>
                  </a:txBody>
                  <a:tcPr marL="3175" marR="3175" marT="3175" marB="0" anchor="ctr">
                    <a:lnT w="6350">
                      <a:solidFill>
                        <a:srgbClr val="868A8C"/>
                      </a:solidFill>
                      <a:prstDash val="soli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a:solidFill>
                        <a:srgbClr val="868A8C"/>
                      </a:solidFill>
                      <a:prstDash val="solid"/>
                    </a:lnT>
                    <a:lnB w="6350">
                      <a:solidFill>
                        <a:srgbClr val="868A8C"/>
                      </a:solidFill>
                      <a:prstDash val="soli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1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a:solidFill>
                        <a:srgbClr val="868A8C"/>
                      </a:solidFill>
                      <a:prstDash val="soli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22.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3"/>
                  </a:ext>
                </a:extLst>
              </a:tr>
              <a:tr h="522729">
                <a:tc vMerge="1">
                  <a:txBody>
                    <a:bodyPr/>
                    <a:lstStyle/>
                    <a:p>
                      <a:pPr marL="50800" marR="52069" algn="l" fontAlgn="ctr">
                        <a:lnSpc>
                          <a:spcPts val="1100"/>
                        </a:lnSpc>
                        <a:spcBef>
                          <a:spcPts val="810"/>
                        </a:spcBef>
                      </a:pPr>
                      <a:endParaRPr lang="en-US" sz="1000" b="1" spc="-20" dirty="0">
                        <a:solidFill>
                          <a:srgbClr val="FFC000"/>
                        </a:solidFill>
                        <a:latin typeface="Proxima Nova Rg" panose="02000506030000020004" pitchFamily="50" charset="0"/>
                        <a:ea typeface="+mn-ea"/>
                        <a:cs typeface="Calibri"/>
                      </a:endParaRP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Small Market - </a:t>
                      </a:r>
                      <a:r>
                        <a:rPr lang="en-US" sz="1100" b="0" spc="-20">
                          <a:solidFill>
                            <a:srgbClr val="FFC000"/>
                          </a:solidFill>
                          <a:latin typeface="Slate Pro" panose="02000506040000020004" pitchFamily="2" charset="0"/>
                          <a:ea typeface="+mn-ea"/>
                          <a:cs typeface="Calibri"/>
                          <a:sym typeface="Slate Pro" panose="02000506040000020004" pitchFamily="2" charset="0"/>
                        </a:rPr>
                        <a:t>Gold</a:t>
                      </a:r>
                    </a:p>
                  </a:txBody>
                  <a:tcPr marL="3175" marR="3175" marT="3175" marB="0" anchor="ctr">
                    <a:lnT w="6350">
                      <a:solidFill>
                        <a:srgbClr val="868A8C"/>
                      </a:solidFill>
                      <a:prstDash val="soli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a:solidFill>
                        <a:srgbClr val="868A8C"/>
                      </a:solidFill>
                      <a:prstDash val="solid"/>
                    </a:lnT>
                    <a:lnB w="6350">
                      <a:solidFill>
                        <a:srgbClr val="868A8C"/>
                      </a:solidFill>
                      <a:prstDash val="soli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16.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a:solidFill>
                        <a:srgbClr val="868A8C"/>
                      </a:solidFill>
                      <a:prstDash val="soli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25.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4"/>
                  </a:ext>
                </a:extLst>
              </a:tr>
              <a:tr h="472628">
                <a:tc vMerge="1">
                  <a:txBody>
                    <a:bodyPr/>
                    <a:lstStyle/>
                    <a:p>
                      <a:pPr marL="50800" marR="52069" algn="l" fontAlgn="ctr">
                        <a:lnSpc>
                          <a:spcPts val="1100"/>
                        </a:lnSpc>
                        <a:spcBef>
                          <a:spcPts val="810"/>
                        </a:spcBef>
                      </a:pPr>
                      <a:endParaRPr lang="en-US" sz="1000" b="1" spc="-20" dirty="0">
                        <a:solidFill>
                          <a:srgbClr val="ABAEB7"/>
                        </a:solidFill>
                        <a:latin typeface="Proxima Nova Rg" panose="02000506030000020004" pitchFamily="50" charset="0"/>
                        <a:ea typeface="+mn-ea"/>
                        <a:cs typeface="Calibri"/>
                      </a:endParaRP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Small Market - </a:t>
                      </a:r>
                      <a:r>
                        <a:rPr lang="en-US" sz="1100" b="0" spc="-20">
                          <a:solidFill>
                            <a:srgbClr val="ABAEB7"/>
                          </a:solidFill>
                          <a:latin typeface="Slate Pro" panose="02000506040000020004" pitchFamily="2" charset="0"/>
                          <a:ea typeface="+mn-ea"/>
                          <a:cs typeface="Calibri"/>
                          <a:sym typeface="Slate Pro" panose="02000506040000020004" pitchFamily="2" charset="0"/>
                        </a:rPr>
                        <a:t>Silver</a:t>
                      </a:r>
                    </a:p>
                  </a:txBody>
                  <a:tcPr marL="3175" marR="3175" marT="3175"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1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3.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22.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5"/>
                  </a:ext>
                </a:extLst>
              </a:tr>
              <a:tr h="472628">
                <a:tc rowSpan="4">
                  <a:txBody>
                    <a:bodyPr/>
                    <a:lstStyle/>
                    <a:p>
                      <a:pPr marL="50800" marR="52069" algn="l" fontAlgn="ctr">
                        <a:lnSpc>
                          <a:spcPct val="120000"/>
                        </a:lnSpc>
                        <a:spcBef>
                          <a:spcPts val="810"/>
                        </a:spcBef>
                      </a:pPr>
                      <a:r>
                        <a:rPr lang="en-US" sz="1100" b="1" spc="-20" dirty="0">
                          <a:solidFill>
                            <a:schemeClr val="tx1"/>
                          </a:solidFill>
                          <a:latin typeface="Slate Pro" panose="02000506040000020004" pitchFamily="2" charset="0"/>
                          <a:ea typeface="+mn-ea"/>
                          <a:cs typeface="Calibri"/>
                          <a:sym typeface="Slate Pro" panose="02000506040000020004" pitchFamily="2" charset="0"/>
                        </a:rPr>
                        <a:t>Distributor    (Product 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Large Market - </a:t>
                      </a:r>
                      <a:r>
                        <a:rPr lang="en-US" sz="1100" b="0" spc="-20">
                          <a:solidFill>
                            <a:srgbClr val="FFC000"/>
                          </a:solidFill>
                          <a:latin typeface="Slate Pro" panose="02000506040000020004" pitchFamily="2" charset="0"/>
                          <a:ea typeface="+mn-ea"/>
                          <a:cs typeface="Calibri"/>
                          <a:sym typeface="Slate Pro" panose="02000506040000020004" pitchFamily="2" charset="0"/>
                        </a:rPr>
                        <a:t>Gold</a:t>
                      </a:r>
                    </a:p>
                  </a:txBody>
                  <a:tcPr marL="3175" marR="3175" marT="3175"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Slate Pro" panose="02000506040000020004" pitchFamily="2" charset="0"/>
                          <a:sym typeface="Slate Pro" panose="02000506040000020004" pitchFamily="2" charset="0"/>
                        </a:rPr>
                        <a:t>Included in </a:t>
                      </a:r>
                      <a:br>
                        <a:rPr lang="en-US" sz="1100" b="0" i="0" u="none" strike="noStrike" dirty="0">
                          <a:solidFill>
                            <a:srgbClr val="000000"/>
                          </a:solidFill>
                          <a:effectLst/>
                          <a:latin typeface="Slate Pro" panose="02000506040000020004" pitchFamily="2" charset="0"/>
                          <a:sym typeface="Slate Pro" panose="02000506040000020004" pitchFamily="2" charset="0"/>
                        </a:rPr>
                      </a:br>
                      <a:r>
                        <a:rPr lang="en-US" sz="1100" b="0" i="0" u="none" strike="noStrike" dirty="0">
                          <a:solidFill>
                            <a:srgbClr val="000000"/>
                          </a:solidFill>
                          <a:effectLst/>
                          <a:latin typeface="Slate Pro" panose="02000506040000020004" pitchFamily="2" charset="0"/>
                          <a:sym typeface="Slate Pro" panose="02000506040000020004" pitchFamily="2" charset="0"/>
                        </a:rPr>
                        <a:t>Discount</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70.0%</a:t>
                      </a:r>
                    </a:p>
                  </a:txBody>
                  <a:tcPr marL="3175" marR="3175" marT="3175"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7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2139159540"/>
                  </a:ext>
                </a:extLst>
              </a:tr>
              <a:tr h="472628">
                <a:tc vMerge="1">
                  <a:txBody>
                    <a:bodyPr/>
                    <a:lstStyle/>
                    <a:p>
                      <a:pPr marL="50800" marR="52069" algn="l" fontAlgn="ctr">
                        <a:lnSpc>
                          <a:spcPts val="1100"/>
                        </a:lnSpc>
                        <a:spcBef>
                          <a:spcPts val="810"/>
                        </a:spcBef>
                      </a:pPr>
                      <a:endParaRPr lang="en-US" sz="1000" b="1" spc="-20" dirty="0">
                        <a:solidFill>
                          <a:schemeClr val="tx1"/>
                        </a:solidFill>
                        <a:latin typeface="Proxima Nova Rg" panose="02000506030000020004" pitchFamily="50" charset="0"/>
                        <a:ea typeface="+mn-ea"/>
                        <a:cs typeface="Calibri"/>
                      </a:endParaRP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Large Market - </a:t>
                      </a:r>
                      <a:r>
                        <a:rPr lang="en-US" sz="1100" b="0" spc="-20">
                          <a:solidFill>
                            <a:srgbClr val="ABAEB7"/>
                          </a:solidFill>
                          <a:latin typeface="Slate Pro" panose="02000506040000020004" pitchFamily="2" charset="0"/>
                          <a:ea typeface="+mn-ea"/>
                          <a:cs typeface="Calibri"/>
                          <a:sym typeface="Slate Pro" panose="02000506040000020004" pitchFamily="2" charset="0"/>
                        </a:rPr>
                        <a:t>Silver</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Included in </a:t>
                      </a:r>
                      <a:br>
                        <a:rPr lang="en-US" sz="1100" b="0" i="0" u="none" strike="noStrike" dirty="0">
                          <a:solidFill>
                            <a:srgbClr val="000000"/>
                          </a:solidFill>
                          <a:effectLst/>
                          <a:latin typeface="Slate Pro" panose="02000506040000020004" pitchFamily="2" charset="0"/>
                          <a:sym typeface="Slate Pro" panose="02000506040000020004" pitchFamily="2" charset="0"/>
                        </a:rPr>
                      </a:br>
                      <a:r>
                        <a:rPr lang="en-US" sz="1100" b="0" i="0" u="none" strike="noStrike" dirty="0">
                          <a:solidFill>
                            <a:srgbClr val="000000"/>
                          </a:solidFill>
                          <a:effectLst/>
                          <a:latin typeface="Slate Pro" panose="02000506040000020004" pitchFamily="2" charset="0"/>
                          <a:sym typeface="Slate Pro" panose="02000506040000020004" pitchFamily="2" charset="0"/>
                        </a:rPr>
                        <a:t>Discount</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5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Slate Pro" panose="02000506040000020004" pitchFamily="2" charset="0"/>
                          <a:sym typeface="Slate Pro" panose="02000506040000020004" pitchFamily="2" charset="0"/>
                        </a:rPr>
                        <a:t>5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843537978"/>
                  </a:ext>
                </a:extLst>
              </a:tr>
              <a:tr h="472628">
                <a:tc vMerge="1">
                  <a:txBody>
                    <a:bodyPr/>
                    <a:lstStyle/>
                    <a:p>
                      <a:pPr marL="50800" marR="52069" algn="l" fontAlgn="ctr">
                        <a:lnSpc>
                          <a:spcPts val="1100"/>
                        </a:lnSpc>
                        <a:spcBef>
                          <a:spcPts val="810"/>
                        </a:spcBef>
                      </a:pPr>
                      <a:endParaRPr lang="en-US" sz="1000" b="1" spc="-20" dirty="0">
                        <a:solidFill>
                          <a:schemeClr val="tx1"/>
                        </a:solidFill>
                        <a:latin typeface="Proxima Nova Rg" panose="02000506030000020004" pitchFamily="50" charset="0"/>
                        <a:ea typeface="+mn-ea"/>
                        <a:cs typeface="Calibri"/>
                      </a:endParaRP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Small Market - </a:t>
                      </a:r>
                      <a:r>
                        <a:rPr lang="en-US" sz="1100" b="0" spc="-20">
                          <a:solidFill>
                            <a:srgbClr val="FFC000"/>
                          </a:solidFill>
                          <a:latin typeface="Slate Pro" panose="02000506040000020004" pitchFamily="2" charset="0"/>
                          <a:ea typeface="+mn-ea"/>
                          <a:cs typeface="Calibri"/>
                          <a:sym typeface="Slate Pro" panose="02000506040000020004" pitchFamily="2" charset="0"/>
                        </a:rPr>
                        <a:t>Gold</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Included in </a:t>
                      </a:r>
                      <a:br>
                        <a:rPr lang="en-US" sz="1100" b="0" i="0" u="none" strike="noStrike" dirty="0">
                          <a:solidFill>
                            <a:srgbClr val="000000"/>
                          </a:solidFill>
                          <a:effectLst/>
                          <a:latin typeface="Slate Pro" panose="02000506040000020004" pitchFamily="2" charset="0"/>
                          <a:sym typeface="Slate Pro" panose="02000506040000020004" pitchFamily="2" charset="0"/>
                        </a:rPr>
                      </a:br>
                      <a:r>
                        <a:rPr lang="en-US" sz="1100" b="0" i="0" u="none" strike="noStrike" dirty="0">
                          <a:solidFill>
                            <a:srgbClr val="000000"/>
                          </a:solidFill>
                          <a:effectLst/>
                          <a:latin typeface="Slate Pro" panose="02000506040000020004" pitchFamily="2" charset="0"/>
                          <a:sym typeface="Slate Pro" panose="02000506040000020004" pitchFamily="2" charset="0"/>
                        </a:rPr>
                        <a:t>Discount</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7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Slate Pro" panose="02000506040000020004" pitchFamily="2" charset="0"/>
                          <a:sym typeface="Slate Pro" panose="02000506040000020004" pitchFamily="2" charset="0"/>
                        </a:rPr>
                        <a:t>7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2372994422"/>
                  </a:ext>
                </a:extLst>
              </a:tr>
              <a:tr h="472628">
                <a:tc vMerge="1">
                  <a:txBody>
                    <a:bodyPr/>
                    <a:lstStyle/>
                    <a:p>
                      <a:pPr marL="50800" marR="52069" algn="l" fontAlgn="ctr">
                        <a:lnSpc>
                          <a:spcPts val="1100"/>
                        </a:lnSpc>
                        <a:spcBef>
                          <a:spcPts val="810"/>
                        </a:spcBef>
                      </a:pPr>
                      <a:endParaRPr lang="en-US" sz="1000" b="1" spc="-20" dirty="0">
                        <a:solidFill>
                          <a:schemeClr val="tx1"/>
                        </a:solidFill>
                        <a:latin typeface="Proxima Nova Rg" panose="02000506030000020004" pitchFamily="50" charset="0"/>
                        <a:ea typeface="+mn-ea"/>
                        <a:cs typeface="Calibri"/>
                      </a:endParaRP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50800" marR="52069" algn="l" fontAlgn="ctr">
                        <a:lnSpc>
                          <a:spcPts val="1100"/>
                        </a:lnSpc>
                        <a:spcBef>
                          <a:spcPts val="810"/>
                        </a:spcBef>
                      </a:pPr>
                      <a:r>
                        <a:rPr lang="en-US" sz="1100" b="0" spc="-20">
                          <a:solidFill>
                            <a:schemeClr val="tx1"/>
                          </a:solidFill>
                          <a:latin typeface="Slate Pro" panose="02000506040000020004" pitchFamily="2" charset="0"/>
                          <a:ea typeface="+mn-ea"/>
                          <a:cs typeface="Calibri"/>
                          <a:sym typeface="Slate Pro" panose="02000506040000020004" pitchFamily="2" charset="0"/>
                        </a:rPr>
                        <a:t>Small Market - </a:t>
                      </a:r>
                      <a:r>
                        <a:rPr lang="en-US" sz="1100" b="0" spc="-20">
                          <a:solidFill>
                            <a:srgbClr val="ABAEB7"/>
                          </a:solidFill>
                          <a:latin typeface="Slate Pro" panose="02000506040000020004" pitchFamily="2" charset="0"/>
                          <a:ea typeface="+mn-ea"/>
                          <a:cs typeface="Calibri"/>
                          <a:sym typeface="Slate Pro" panose="02000506040000020004" pitchFamily="2" charset="0"/>
                        </a:rPr>
                        <a:t>Silver</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Included in </a:t>
                      </a:r>
                      <a:br>
                        <a:rPr lang="en-US" sz="1100" b="0" i="0" u="none" strike="noStrike" dirty="0">
                          <a:solidFill>
                            <a:srgbClr val="000000"/>
                          </a:solidFill>
                          <a:effectLst/>
                          <a:latin typeface="Slate Pro" panose="02000506040000020004" pitchFamily="2" charset="0"/>
                          <a:sym typeface="Slate Pro" panose="02000506040000020004" pitchFamily="2" charset="0"/>
                        </a:rPr>
                      </a:br>
                      <a:r>
                        <a:rPr lang="en-US" sz="1100" b="0" i="0" u="none" strike="noStrike" dirty="0">
                          <a:solidFill>
                            <a:srgbClr val="000000"/>
                          </a:solidFill>
                          <a:effectLst/>
                          <a:latin typeface="Slate Pro" panose="02000506040000020004" pitchFamily="2" charset="0"/>
                          <a:sym typeface="Slate Pro" panose="02000506040000020004" pitchFamily="2" charset="0"/>
                        </a:rPr>
                        <a:t>Discount</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Slate Pro" panose="02000506040000020004" pitchFamily="2" charset="0"/>
                          <a:sym typeface="Slate Pro" panose="02000506040000020004" pitchFamily="2" charset="0"/>
                        </a:rPr>
                        <a:t>5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Slate Pro" panose="02000506040000020004" pitchFamily="2" charset="0"/>
                          <a:sym typeface="Slate Pro" panose="02000506040000020004" pitchFamily="2" charset="0"/>
                        </a:rPr>
                        <a:t>5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114708808"/>
                  </a:ext>
                </a:extLst>
              </a:tr>
              <a:tr h="419512">
                <a:tc>
                  <a:txBody>
                    <a:bodyPr/>
                    <a:lstStyle/>
                    <a:p>
                      <a:pPr marL="50800" marR="52069" algn="l" fontAlgn="ctr">
                        <a:lnSpc>
                          <a:spcPts val="1100"/>
                        </a:lnSpc>
                        <a:spcBef>
                          <a:spcPts val="810"/>
                        </a:spcBef>
                      </a:pPr>
                      <a:r>
                        <a:rPr lang="en-US" sz="1100" b="1" spc="-20">
                          <a:solidFill>
                            <a:schemeClr val="tx1"/>
                          </a:solidFill>
                          <a:latin typeface="Slate Pro" panose="02000506040000020004" pitchFamily="2" charset="0"/>
                          <a:ea typeface="+mn-ea"/>
                          <a:cs typeface="Calibri"/>
                          <a:sym typeface="Slate Pro" panose="02000506040000020004" pitchFamily="2" charset="0"/>
                        </a:rPr>
                        <a:t>Referral</a:t>
                      </a:r>
                    </a:p>
                  </a:txBody>
                  <a:tcPr marL="3175" marR="3175" marT="3175" marB="0" anchor="ctr">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marL="50800" marR="52069" lvl="0" indent="0" algn="l" defTabSz="914400" eaLnBrk="1" fontAlgn="ctr" latinLnBrk="0" hangingPunct="1">
                        <a:lnSpc>
                          <a:spcPts val="1100"/>
                        </a:lnSpc>
                        <a:spcBef>
                          <a:spcPts val="810"/>
                        </a:spcBef>
                        <a:spcAft>
                          <a:spcPts val="0"/>
                        </a:spcAft>
                        <a:buClrTx/>
                        <a:buSzTx/>
                        <a:buFontTx/>
                        <a:buNone/>
                        <a:tabLst/>
                        <a:defRPr/>
                      </a:pPr>
                      <a:r>
                        <a:rPr lang="en-US" sz="1100" b="0" spc="-20">
                          <a:solidFill>
                            <a:schemeClr val="tx1"/>
                          </a:solidFill>
                          <a:latin typeface="Slate Pro" panose="02000506040000020004" pitchFamily="2" charset="0"/>
                          <a:ea typeface="+mn-ea"/>
                          <a:cs typeface="Calibri"/>
                          <a:sym typeface="Slate Pro" panose="02000506040000020004" pitchFamily="2" charset="0"/>
                        </a:rPr>
                        <a:t>Applies to All Tiers</a:t>
                      </a:r>
                    </a:p>
                  </a:txBody>
                  <a:tcPr marL="3175" marR="3175" marT="3175" marB="0" anchor="ctr">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algn="ctr" fontAlgn="ctr"/>
                      <a:r>
                        <a:rPr lang="en-US" sz="1100" b="0" i="0" u="none" strike="noStrike" dirty="0">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a:solidFill>
                        <a:srgbClr val="868A8C"/>
                      </a:solidFill>
                      <a:prstDash val="soli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N/A</a:t>
                      </a:r>
                    </a:p>
                  </a:txBody>
                  <a:tcPr marL="3175" marR="3175" marT="3175" marB="0" anchor="ctr">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Slate Pro" panose="02000506040000020004" pitchFamily="2" charset="0"/>
                          <a:sym typeface="Slate Pro" panose="02000506040000020004" pitchFamily="2" charset="0"/>
                        </a:rPr>
                        <a:t>1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late Pro" panose="02000506040000020004" pitchFamily="2" charset="0"/>
                          <a:sym typeface="Slate Pro" panose="02000506040000020004" pitchFamily="2" charset="0"/>
                        </a:rPr>
                        <a:t>10.0%</a:t>
                      </a:r>
                    </a:p>
                  </a:txBody>
                  <a:tcPr marL="3175" marR="3175" marT="3175"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2648063143"/>
                  </a:ext>
                </a:extLst>
              </a:tr>
            </a:tbl>
          </a:graphicData>
        </a:graphic>
      </p:graphicFrame>
      <p:sp>
        <p:nvSpPr>
          <p:cNvPr id="3" name="object 3"/>
          <p:cNvSpPr txBox="1">
            <a:spLocks noGrp="1"/>
          </p:cNvSpPr>
          <p:nvPr>
            <p:ph type="title"/>
          </p:nvPr>
        </p:nvSpPr>
        <p:spPr>
          <a:xfrm>
            <a:off x="500299" y="402872"/>
            <a:ext cx="9692800" cy="505267"/>
          </a:xfrm>
          <a:prstGeom prst="rect">
            <a:avLst/>
          </a:prstGeom>
        </p:spPr>
        <p:txBody>
          <a:bodyPr vert="horz" wrap="square" lIns="0" tIns="12700" rIns="0" bIns="0" rtlCol="0">
            <a:spAutoFit/>
          </a:bodyPr>
          <a:lstStyle/>
          <a:p>
            <a:pPr marL="30480">
              <a:spcBef>
                <a:spcPts val="100"/>
              </a:spcBef>
            </a:pPr>
            <a:r>
              <a:rPr lang="en-US" sz="3200" dirty="0">
                <a:solidFill>
                  <a:srgbClr val="5A87C5"/>
                </a:solidFill>
              </a:rPr>
              <a:t>Partner Incentive Model</a:t>
            </a:r>
          </a:p>
        </p:txBody>
      </p:sp>
      <p:sp>
        <p:nvSpPr>
          <p:cNvPr id="9" name="object 9"/>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2</a:t>
            </a:fld>
            <a:endParaRPr spc="-25"/>
          </a:p>
        </p:txBody>
      </p:sp>
      <p:sp>
        <p:nvSpPr>
          <p:cNvPr id="4" name="Holder 4">
            <a:extLst>
              <a:ext uri="{FF2B5EF4-FFF2-40B4-BE49-F238E27FC236}">
                <a16:creationId xmlns:a16="http://schemas.microsoft.com/office/drawing/2014/main" id="{A193DD2D-3B71-EDCA-055F-665AE84239BB}"/>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21ABBCC4-7B72-3683-AAB4-2839F740E1C9}"/>
              </a:ext>
            </a:extLst>
          </p:cNvPr>
          <p:cNvSpPr txBox="1"/>
          <p:nvPr/>
        </p:nvSpPr>
        <p:spPr>
          <a:xfrm>
            <a:off x="474673" y="965857"/>
            <a:ext cx="9687551" cy="461665"/>
          </a:xfrm>
          <a:prstGeom prst="rect">
            <a:avLst/>
          </a:prstGeom>
          <a:noFill/>
        </p:spPr>
        <p:txBody>
          <a:bodyPr wrap="square">
            <a:spAutoFit/>
          </a:bodyPr>
          <a:lstStyle/>
          <a:p>
            <a:pPr algn="l"/>
            <a:r>
              <a:rPr lang="en-US" sz="1200" dirty="0">
                <a:latin typeface="Slate Pro" panose="02000506040000020004" pitchFamily="2" charset="0"/>
                <a:sym typeface="Slate Pro" panose="02000506040000020004" pitchFamily="2" charset="0"/>
              </a:rPr>
              <a:t>To help you maximize your success, ACME offers its Partners significant incentives through an additive incentive model, which is based on the breadth of Partner involvement in the deal, as well as specific incentives tied to deal and Partner type. </a:t>
            </a:r>
          </a:p>
        </p:txBody>
      </p:sp>
      <p:grpSp>
        <p:nvGrpSpPr>
          <p:cNvPr id="12" name="Group 11">
            <a:extLst>
              <a:ext uri="{FF2B5EF4-FFF2-40B4-BE49-F238E27FC236}">
                <a16:creationId xmlns:a16="http://schemas.microsoft.com/office/drawing/2014/main" id="{5669F7E3-AF82-3817-A675-6D6066745977}"/>
              </a:ext>
            </a:extLst>
          </p:cNvPr>
          <p:cNvGrpSpPr/>
          <p:nvPr/>
        </p:nvGrpSpPr>
        <p:grpSpPr>
          <a:xfrm>
            <a:off x="157427" y="7205390"/>
            <a:ext cx="2416310" cy="276999"/>
            <a:chOff x="157428" y="7205390"/>
            <a:chExt cx="2132373" cy="276999"/>
          </a:xfrm>
        </p:grpSpPr>
        <p:sp>
          <p:nvSpPr>
            <p:cNvPr id="14" name="TextBox 13">
              <a:hlinkClick r:id="rId6" action="ppaction://hlinksldjump"/>
              <a:extLst>
                <a:ext uri="{FF2B5EF4-FFF2-40B4-BE49-F238E27FC236}">
                  <a16:creationId xmlns:a16="http://schemas.microsoft.com/office/drawing/2014/main" id="{F5B24C24-F2B1-CAD3-E18C-438399C3B12D}"/>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5" name="Arrow: Right 14">
              <a:extLst>
                <a:ext uri="{FF2B5EF4-FFF2-40B4-BE49-F238E27FC236}">
                  <a16:creationId xmlns:a16="http://schemas.microsoft.com/office/drawing/2014/main" id="{E56EA2E8-1C64-472F-E686-EEAB85673FBE}"/>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39485510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0B2C4AD-68BD-31A2-298D-5C85E17E6F35}"/>
              </a:ext>
            </a:extLst>
          </p:cNvPr>
          <p:cNvGraphicFramePr>
            <a:graphicFrameLocks noChangeAspect="1"/>
          </p:cNvGraphicFramePr>
          <p:nvPr>
            <p:custDataLst>
              <p:tags r:id="rId1"/>
            </p:custDataLst>
            <p:extLst>
              <p:ext uri="{D42A27DB-BD31-4B8C-83A1-F6EECF244321}">
                <p14:modId xmlns:p14="http://schemas.microsoft.com/office/powerpoint/2010/main" val="4188074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Object 10" hidden="1">
                        <a:extLst>
                          <a:ext uri="{FF2B5EF4-FFF2-40B4-BE49-F238E27FC236}">
                            <a16:creationId xmlns:a16="http://schemas.microsoft.com/office/drawing/2014/main" id="{50B2C4AD-68BD-31A2-298D-5C85E17E6F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p:nvPr>
        </p:nvSpPr>
        <p:spPr>
          <a:xfrm>
            <a:off x="500299" y="402872"/>
            <a:ext cx="9692800" cy="505267"/>
          </a:xfrm>
          <a:prstGeom prst="rect">
            <a:avLst/>
          </a:prstGeom>
        </p:spPr>
        <p:txBody>
          <a:bodyPr vert="horz" wrap="square" lIns="0" tIns="12700" rIns="0" bIns="0" rtlCol="0">
            <a:spAutoFit/>
          </a:bodyPr>
          <a:lstStyle/>
          <a:p>
            <a:pPr marL="30480">
              <a:spcBef>
                <a:spcPts val="100"/>
              </a:spcBef>
            </a:pPr>
            <a:r>
              <a:rPr lang="en-US" sz="3200" dirty="0">
                <a:solidFill>
                  <a:srgbClr val="5A87C5"/>
                </a:solidFill>
              </a:rPr>
              <a:t>Partner Incentive Model — Detail</a:t>
            </a:r>
          </a:p>
        </p:txBody>
      </p:sp>
      <p:sp>
        <p:nvSpPr>
          <p:cNvPr id="9" name="object 9"/>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3</a:t>
            </a:fld>
            <a:endParaRPr spc="-25"/>
          </a:p>
        </p:txBody>
      </p:sp>
      <p:sp>
        <p:nvSpPr>
          <p:cNvPr id="4" name="Holder 4">
            <a:extLst>
              <a:ext uri="{FF2B5EF4-FFF2-40B4-BE49-F238E27FC236}">
                <a16:creationId xmlns:a16="http://schemas.microsoft.com/office/drawing/2014/main" id="{A193DD2D-3B71-EDCA-055F-665AE84239BB}"/>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aphicFrame>
        <p:nvGraphicFramePr>
          <p:cNvPr id="5" name="Table 4">
            <a:extLst>
              <a:ext uri="{FF2B5EF4-FFF2-40B4-BE49-F238E27FC236}">
                <a16:creationId xmlns:a16="http://schemas.microsoft.com/office/drawing/2014/main" id="{506454E4-1478-CED6-9E89-F008CF77CB7E}"/>
              </a:ext>
            </a:extLst>
          </p:cNvPr>
          <p:cNvGraphicFramePr>
            <a:graphicFrameLocks noGrp="1"/>
          </p:cNvGraphicFramePr>
          <p:nvPr>
            <p:extLst>
              <p:ext uri="{D42A27DB-BD31-4B8C-83A1-F6EECF244321}">
                <p14:modId xmlns:p14="http://schemas.microsoft.com/office/powerpoint/2010/main" val="1081362755"/>
              </p:ext>
            </p:extLst>
          </p:nvPr>
        </p:nvGraphicFramePr>
        <p:xfrm>
          <a:off x="500299" y="1662723"/>
          <a:ext cx="9915328" cy="4749303"/>
        </p:xfrm>
        <a:graphic>
          <a:graphicData uri="http://schemas.openxmlformats.org/drawingml/2006/table">
            <a:tbl>
              <a:tblPr firstRow="1" bandRow="1">
                <a:tableStyleId>{2D5ABB26-0587-4C30-8999-92F81FD0307C}</a:tableStyleId>
              </a:tblPr>
              <a:tblGrid>
                <a:gridCol w="1554643">
                  <a:extLst>
                    <a:ext uri="{9D8B030D-6E8A-4147-A177-3AD203B41FA5}">
                      <a16:colId xmlns:a16="http://schemas.microsoft.com/office/drawing/2014/main" val="647372361"/>
                    </a:ext>
                  </a:extLst>
                </a:gridCol>
                <a:gridCol w="1120877">
                  <a:extLst>
                    <a:ext uri="{9D8B030D-6E8A-4147-A177-3AD203B41FA5}">
                      <a16:colId xmlns:a16="http://schemas.microsoft.com/office/drawing/2014/main" val="2596807108"/>
                    </a:ext>
                  </a:extLst>
                </a:gridCol>
                <a:gridCol w="884904">
                  <a:extLst>
                    <a:ext uri="{9D8B030D-6E8A-4147-A177-3AD203B41FA5}">
                      <a16:colId xmlns:a16="http://schemas.microsoft.com/office/drawing/2014/main" val="14827963"/>
                    </a:ext>
                  </a:extLst>
                </a:gridCol>
                <a:gridCol w="1542590">
                  <a:extLst>
                    <a:ext uri="{9D8B030D-6E8A-4147-A177-3AD203B41FA5}">
                      <a16:colId xmlns:a16="http://schemas.microsoft.com/office/drawing/2014/main" val="1760556397"/>
                    </a:ext>
                  </a:extLst>
                </a:gridCol>
                <a:gridCol w="3232635">
                  <a:extLst>
                    <a:ext uri="{9D8B030D-6E8A-4147-A177-3AD203B41FA5}">
                      <a16:colId xmlns:a16="http://schemas.microsoft.com/office/drawing/2014/main" val="995791219"/>
                    </a:ext>
                  </a:extLst>
                </a:gridCol>
                <a:gridCol w="1579679">
                  <a:extLst>
                    <a:ext uri="{9D8B030D-6E8A-4147-A177-3AD203B41FA5}">
                      <a16:colId xmlns:a16="http://schemas.microsoft.com/office/drawing/2014/main" val="695317556"/>
                    </a:ext>
                  </a:extLst>
                </a:gridCol>
              </a:tblGrid>
              <a:tr h="606477">
                <a:tc>
                  <a:txBody>
                    <a:bodyPr/>
                    <a:lstStyle/>
                    <a:p>
                      <a:pPr marL="50800" marR="52069" algn="l">
                        <a:lnSpc>
                          <a:spcPct val="110000"/>
                        </a:lnSpc>
                        <a:spcBef>
                          <a:spcPts val="810"/>
                        </a:spcBef>
                      </a:pPr>
                      <a:r>
                        <a:rPr lang="en-US" sz="1200" b="1" spc="-20" dirty="0">
                          <a:latin typeface="Slate Pro" panose="02000506040000020004" pitchFamily="2" charset="0"/>
                          <a:cs typeface="Calibri"/>
                          <a:sym typeface="Slate Pro" panose="02000506040000020004" pitchFamily="2" charset="0"/>
                        </a:rPr>
                        <a:t>Incentive</a:t>
                      </a:r>
                      <a:r>
                        <a:rPr sz="1200" b="1" spc="-20" dirty="0">
                          <a:latin typeface="Slate Pro" panose="02000506040000020004" pitchFamily="2" charset="0"/>
                          <a:cs typeface="Calibri"/>
                          <a:sym typeface="Slate Pro" panose="02000506040000020004" pitchFamily="2" charset="0"/>
                        </a:rPr>
                        <a:t> </a:t>
                      </a:r>
                      <a:r>
                        <a:rPr sz="1200" b="1" spc="-10" dirty="0">
                          <a:latin typeface="Slate Pro" panose="02000506040000020004" pitchFamily="2" charset="0"/>
                          <a:cs typeface="Calibri"/>
                          <a:sym typeface="Slate Pro" panose="02000506040000020004" pitchFamily="2" charset="0"/>
                        </a:rPr>
                        <a:t>Component</a:t>
                      </a:r>
                      <a:endParaRPr sz="1200" dirty="0">
                        <a:latin typeface="Slate Pro" panose="02000506040000020004" pitchFamily="2" charset="0"/>
                        <a:cs typeface="Calibri"/>
                        <a:sym typeface="Slate Pro" panose="02000506040000020004" pitchFamily="2" charset="0"/>
                      </a:endParaRPr>
                    </a:p>
                  </a:txBody>
                  <a:tcPr marL="45720" marR="45720" anchor="ctr">
                    <a:lnT w="28575" cap="flat" cmpd="sng" algn="ctr">
                      <a:noFill/>
                      <a:prstDash val="solid"/>
                      <a:round/>
                      <a:headEnd type="none" w="med" len="med"/>
                      <a:tailEnd type="none" w="med" len="med"/>
                    </a:lnT>
                    <a:lnB w="28575">
                      <a:solidFill>
                        <a:srgbClr val="878787"/>
                      </a:solidFill>
                      <a:prstDash val="solid"/>
                    </a:lnB>
                    <a:solidFill>
                      <a:schemeClr val="accent1">
                        <a:lumMod val="20000"/>
                        <a:lumOff val="80000"/>
                      </a:schemeClr>
                    </a:solidFill>
                  </a:tcPr>
                </a:tc>
                <a:tc>
                  <a:txBody>
                    <a:bodyPr/>
                    <a:lstStyle/>
                    <a:p>
                      <a:pPr marL="51435" marR="52069" algn="l">
                        <a:lnSpc>
                          <a:spcPct val="110000"/>
                        </a:lnSpc>
                        <a:spcBef>
                          <a:spcPts val="810"/>
                        </a:spcBef>
                      </a:pPr>
                      <a:r>
                        <a:rPr sz="1200" b="1" spc="-10" dirty="0">
                          <a:latin typeface="Slate Pro" panose="02000506040000020004" pitchFamily="2" charset="0"/>
                          <a:cs typeface="Calibri"/>
                          <a:sym typeface="Slate Pro" panose="02000506040000020004" pitchFamily="2" charset="0"/>
                        </a:rPr>
                        <a:t>Incentive </a:t>
                      </a:r>
                      <a:r>
                        <a:rPr sz="1200" b="1" spc="-20" dirty="0">
                          <a:latin typeface="Slate Pro" panose="02000506040000020004" pitchFamily="2" charset="0"/>
                          <a:cs typeface="Calibri"/>
                          <a:sym typeface="Slate Pro" panose="02000506040000020004" pitchFamily="2" charset="0"/>
                        </a:rPr>
                        <a:t>Type</a:t>
                      </a:r>
                      <a:endParaRPr sz="1200" dirty="0">
                        <a:latin typeface="Slate Pro" panose="02000506040000020004" pitchFamily="2" charset="0"/>
                        <a:cs typeface="Calibri"/>
                        <a:sym typeface="Slate Pro" panose="02000506040000020004" pitchFamily="2" charset="0"/>
                      </a:endParaRPr>
                    </a:p>
                  </a:txBody>
                  <a:tcPr marL="45720" marR="45720" anchor="ctr">
                    <a:lnT w="28575" cap="flat" cmpd="sng" algn="ctr">
                      <a:noFill/>
                      <a:prstDash val="solid"/>
                      <a:round/>
                      <a:headEnd type="none" w="med" len="med"/>
                      <a:tailEnd type="none" w="med" len="med"/>
                    </a:lnT>
                    <a:lnB w="28575">
                      <a:solidFill>
                        <a:srgbClr val="878787"/>
                      </a:solidFill>
                      <a:prstDash val="solid"/>
                    </a:lnB>
                    <a:solidFill>
                      <a:schemeClr val="accent1">
                        <a:lumMod val="20000"/>
                        <a:lumOff val="80000"/>
                      </a:schemeClr>
                    </a:solidFill>
                  </a:tcPr>
                </a:tc>
                <a:tc>
                  <a:txBody>
                    <a:bodyPr/>
                    <a:lstStyle/>
                    <a:p>
                      <a:pPr marL="59690" algn="l">
                        <a:lnSpc>
                          <a:spcPct val="110000"/>
                        </a:lnSpc>
                        <a:spcBef>
                          <a:spcPts val="690"/>
                        </a:spcBef>
                      </a:pPr>
                      <a:r>
                        <a:rPr sz="1200" b="1" spc="-10" dirty="0">
                          <a:latin typeface="Slate Pro" panose="02000506040000020004" pitchFamily="2" charset="0"/>
                          <a:cs typeface="Calibri"/>
                          <a:sym typeface="Slate Pro" panose="02000506040000020004" pitchFamily="2" charset="0"/>
                        </a:rPr>
                        <a:t>Frequency</a:t>
                      </a:r>
                      <a:endParaRPr sz="1200" dirty="0">
                        <a:latin typeface="Slate Pro" panose="02000506040000020004" pitchFamily="2" charset="0"/>
                        <a:cs typeface="Calibri"/>
                        <a:sym typeface="Slate Pro" panose="02000506040000020004" pitchFamily="2" charset="0"/>
                      </a:endParaRPr>
                    </a:p>
                  </a:txBody>
                  <a:tcPr marL="45720" marR="45720" anchor="ctr">
                    <a:lnT w="28575" cap="flat" cmpd="sng" algn="ctr">
                      <a:noFill/>
                      <a:prstDash val="solid"/>
                      <a:round/>
                      <a:headEnd type="none" w="med" len="med"/>
                      <a:tailEnd type="none" w="med" len="med"/>
                    </a:lnT>
                    <a:lnB w="28575">
                      <a:solidFill>
                        <a:srgbClr val="878787"/>
                      </a:solidFill>
                      <a:prstDash val="solid"/>
                    </a:lnB>
                    <a:solidFill>
                      <a:schemeClr val="accent1">
                        <a:lumMod val="20000"/>
                        <a:lumOff val="80000"/>
                      </a:schemeClr>
                    </a:solidFill>
                  </a:tcPr>
                </a:tc>
                <a:tc>
                  <a:txBody>
                    <a:bodyPr/>
                    <a:lstStyle/>
                    <a:p>
                      <a:pPr marL="67310" marR="75565" algn="l">
                        <a:lnSpc>
                          <a:spcPct val="110000"/>
                        </a:lnSpc>
                        <a:spcBef>
                          <a:spcPts val="810"/>
                        </a:spcBef>
                      </a:pPr>
                      <a:r>
                        <a:rPr sz="1200" b="1" spc="-10" dirty="0">
                          <a:latin typeface="Slate Pro" panose="02000506040000020004" pitchFamily="2" charset="0"/>
                          <a:cs typeface="Calibri"/>
                          <a:sym typeface="Slate Pro" panose="02000506040000020004" pitchFamily="2" charset="0"/>
                        </a:rPr>
                        <a:t>When</a:t>
                      </a:r>
                      <a:r>
                        <a:rPr sz="1200" b="1" spc="-25" dirty="0">
                          <a:latin typeface="Slate Pro" panose="02000506040000020004" pitchFamily="2" charset="0"/>
                          <a:cs typeface="Calibri"/>
                          <a:sym typeface="Slate Pro" panose="02000506040000020004" pitchFamily="2" charset="0"/>
                        </a:rPr>
                        <a:t> </a:t>
                      </a:r>
                      <a:r>
                        <a:rPr sz="1200" b="1" spc="-20" dirty="0">
                          <a:latin typeface="Slate Pro" panose="02000506040000020004" pitchFamily="2" charset="0"/>
                          <a:cs typeface="Calibri"/>
                          <a:sym typeface="Slate Pro" panose="02000506040000020004" pitchFamily="2" charset="0"/>
                        </a:rPr>
                        <a:t>does </a:t>
                      </a:r>
                      <a:br>
                        <a:rPr lang="en-US" sz="1200" b="1" spc="-20" dirty="0">
                          <a:latin typeface="Slate Pro" panose="02000506040000020004" pitchFamily="2" charset="0"/>
                          <a:cs typeface="Calibri"/>
                          <a:sym typeface="Slate Pro" panose="02000506040000020004" pitchFamily="2" charset="0"/>
                        </a:rPr>
                      </a:br>
                      <a:r>
                        <a:rPr lang="en-US" sz="1200" b="1" dirty="0">
                          <a:latin typeface="Slate Pro" panose="02000506040000020004" pitchFamily="2" charset="0"/>
                          <a:cs typeface="Calibri"/>
                          <a:sym typeface="Slate Pro" panose="02000506040000020004" pitchFamily="2" charset="0"/>
                        </a:rPr>
                        <a:t>Partner</a:t>
                      </a:r>
                      <a:r>
                        <a:rPr sz="1200" b="1" spc="-45" dirty="0">
                          <a:latin typeface="Slate Pro" panose="02000506040000020004" pitchFamily="2" charset="0"/>
                          <a:cs typeface="Calibri"/>
                          <a:sym typeface="Slate Pro" panose="02000506040000020004" pitchFamily="2" charset="0"/>
                        </a:rPr>
                        <a:t> </a:t>
                      </a:r>
                      <a:r>
                        <a:rPr sz="1200" b="1" dirty="0">
                          <a:latin typeface="Slate Pro" panose="02000506040000020004" pitchFamily="2" charset="0"/>
                          <a:cs typeface="Calibri"/>
                          <a:sym typeface="Slate Pro" panose="02000506040000020004" pitchFamily="2" charset="0"/>
                        </a:rPr>
                        <a:t>get</a:t>
                      </a:r>
                      <a:r>
                        <a:rPr sz="1200" b="1" spc="-45" dirty="0">
                          <a:latin typeface="Slate Pro" panose="02000506040000020004" pitchFamily="2" charset="0"/>
                          <a:cs typeface="Calibri"/>
                          <a:sym typeface="Slate Pro" panose="02000506040000020004" pitchFamily="2" charset="0"/>
                        </a:rPr>
                        <a:t> </a:t>
                      </a:r>
                      <a:r>
                        <a:rPr sz="1200" b="1" spc="-20" dirty="0">
                          <a:latin typeface="Slate Pro" panose="02000506040000020004" pitchFamily="2" charset="0"/>
                          <a:cs typeface="Calibri"/>
                          <a:sym typeface="Slate Pro" panose="02000506040000020004" pitchFamily="2" charset="0"/>
                        </a:rPr>
                        <a:t>paid?</a:t>
                      </a:r>
                      <a:endParaRPr sz="1200" dirty="0">
                        <a:latin typeface="Slate Pro" panose="02000506040000020004" pitchFamily="2" charset="0"/>
                        <a:cs typeface="Calibri"/>
                        <a:sym typeface="Slate Pro" panose="02000506040000020004" pitchFamily="2" charset="0"/>
                      </a:endParaRPr>
                    </a:p>
                  </a:txBody>
                  <a:tcPr marL="45720" marR="45720" anchor="ctr">
                    <a:lnT w="28575" cap="flat" cmpd="sng" algn="ctr">
                      <a:noFill/>
                      <a:prstDash val="solid"/>
                      <a:round/>
                      <a:headEnd type="none" w="med" len="med"/>
                      <a:tailEnd type="none" w="med" len="med"/>
                    </a:lnT>
                    <a:lnB w="28575">
                      <a:solidFill>
                        <a:srgbClr val="878787"/>
                      </a:solidFill>
                      <a:prstDash val="solid"/>
                    </a:lnB>
                    <a:solidFill>
                      <a:schemeClr val="accent1">
                        <a:lumMod val="20000"/>
                        <a:lumOff val="80000"/>
                      </a:schemeClr>
                    </a:solidFill>
                  </a:tcPr>
                </a:tc>
                <a:tc>
                  <a:txBody>
                    <a:bodyPr/>
                    <a:lstStyle/>
                    <a:p>
                      <a:pPr marL="58419" algn="l">
                        <a:lnSpc>
                          <a:spcPct val="110000"/>
                        </a:lnSpc>
                        <a:spcBef>
                          <a:spcPts val="690"/>
                        </a:spcBef>
                      </a:pPr>
                      <a:r>
                        <a:rPr sz="1200" b="1" spc="-10" dirty="0">
                          <a:latin typeface="Slate Pro" panose="02000506040000020004" pitchFamily="2" charset="0"/>
                          <a:cs typeface="Calibri"/>
                          <a:sym typeface="Slate Pro" panose="02000506040000020004" pitchFamily="2" charset="0"/>
                        </a:rPr>
                        <a:t>Explanation</a:t>
                      </a:r>
                      <a:endParaRPr sz="1200" dirty="0">
                        <a:latin typeface="Slate Pro" panose="02000506040000020004" pitchFamily="2" charset="0"/>
                        <a:cs typeface="Calibri"/>
                        <a:sym typeface="Slate Pro" panose="02000506040000020004" pitchFamily="2" charset="0"/>
                      </a:endParaRPr>
                    </a:p>
                  </a:txBody>
                  <a:tcPr marL="45720" marR="45720" anchor="ctr">
                    <a:lnT w="28575" cap="flat" cmpd="sng" algn="ctr">
                      <a:noFill/>
                      <a:prstDash val="solid"/>
                      <a:round/>
                      <a:headEnd type="none" w="med" len="med"/>
                      <a:tailEnd type="none" w="med" len="med"/>
                    </a:lnT>
                    <a:lnB w="28575" cap="flat" cmpd="sng" algn="ctr">
                      <a:solidFill>
                        <a:srgbClr val="878787"/>
                      </a:solidFill>
                      <a:prstDash val="solid"/>
                      <a:round/>
                      <a:headEnd type="none" w="med" len="med"/>
                      <a:tailEnd type="none" w="med" len="med"/>
                    </a:lnB>
                    <a:solidFill>
                      <a:schemeClr val="accent1">
                        <a:lumMod val="20000"/>
                        <a:lumOff val="80000"/>
                      </a:schemeClr>
                    </a:solidFill>
                  </a:tcPr>
                </a:tc>
                <a:tc>
                  <a:txBody>
                    <a:bodyPr/>
                    <a:lstStyle/>
                    <a:p>
                      <a:pPr marL="56515" marR="123825" algn="l">
                        <a:lnSpc>
                          <a:spcPct val="110000"/>
                        </a:lnSpc>
                        <a:spcBef>
                          <a:spcPts val="810"/>
                        </a:spcBef>
                      </a:pPr>
                      <a:r>
                        <a:rPr sz="1200" b="1" dirty="0">
                          <a:latin typeface="Slate Pro" panose="02000506040000020004" pitchFamily="2" charset="0"/>
                          <a:cs typeface="Calibri"/>
                          <a:sym typeface="Slate Pro" panose="02000506040000020004" pitchFamily="2" charset="0"/>
                        </a:rPr>
                        <a:t>How</a:t>
                      </a:r>
                      <a:r>
                        <a:rPr sz="1200" b="1" spc="25" dirty="0">
                          <a:latin typeface="Slate Pro" panose="02000506040000020004" pitchFamily="2" charset="0"/>
                          <a:cs typeface="Calibri"/>
                          <a:sym typeface="Slate Pro" panose="02000506040000020004" pitchFamily="2" charset="0"/>
                        </a:rPr>
                        <a:t> </a:t>
                      </a:r>
                      <a:r>
                        <a:rPr sz="1200" b="1" dirty="0">
                          <a:latin typeface="Slate Pro" panose="02000506040000020004" pitchFamily="2" charset="0"/>
                          <a:cs typeface="Calibri"/>
                          <a:sym typeface="Slate Pro" panose="02000506040000020004" pitchFamily="2" charset="0"/>
                        </a:rPr>
                        <a:t>is</a:t>
                      </a:r>
                      <a:r>
                        <a:rPr sz="1200" b="1" spc="25" dirty="0">
                          <a:latin typeface="Slate Pro" panose="02000506040000020004" pitchFamily="2" charset="0"/>
                          <a:cs typeface="Calibri"/>
                          <a:sym typeface="Slate Pro" panose="02000506040000020004" pitchFamily="2" charset="0"/>
                        </a:rPr>
                        <a:t> </a:t>
                      </a:r>
                      <a:r>
                        <a:rPr sz="1200" b="1" spc="-25" dirty="0">
                          <a:latin typeface="Slate Pro" panose="02000506040000020004" pitchFamily="2" charset="0"/>
                          <a:cs typeface="Calibri"/>
                          <a:sym typeface="Slate Pro" panose="02000506040000020004" pitchFamily="2" charset="0"/>
                        </a:rPr>
                        <a:t>the </a:t>
                      </a:r>
                      <a:br>
                        <a:rPr lang="en-US" sz="1200" b="1" spc="-25" dirty="0">
                          <a:latin typeface="Slate Pro" panose="02000506040000020004" pitchFamily="2" charset="0"/>
                          <a:cs typeface="Calibri"/>
                          <a:sym typeface="Slate Pro" panose="02000506040000020004" pitchFamily="2" charset="0"/>
                        </a:rPr>
                      </a:br>
                      <a:r>
                        <a:rPr sz="1200" b="1" spc="-10" dirty="0">
                          <a:latin typeface="Slate Pro" panose="02000506040000020004" pitchFamily="2" charset="0"/>
                          <a:cs typeface="Calibri"/>
                          <a:sym typeface="Slate Pro" panose="02000506040000020004" pitchFamily="2" charset="0"/>
                        </a:rPr>
                        <a:t>target</a:t>
                      </a:r>
                      <a:r>
                        <a:rPr sz="1200" b="1" spc="-20" dirty="0">
                          <a:latin typeface="Slate Pro" panose="02000506040000020004" pitchFamily="2" charset="0"/>
                          <a:cs typeface="Calibri"/>
                          <a:sym typeface="Slate Pro" panose="02000506040000020004" pitchFamily="2" charset="0"/>
                        </a:rPr>
                        <a:t> set?</a:t>
                      </a:r>
                      <a:endParaRPr sz="1200" dirty="0">
                        <a:latin typeface="Slate Pro" panose="02000506040000020004" pitchFamily="2" charset="0"/>
                        <a:cs typeface="Calibri"/>
                        <a:sym typeface="Slate Pro" panose="02000506040000020004" pitchFamily="2" charset="0"/>
                      </a:endParaRPr>
                    </a:p>
                  </a:txBody>
                  <a:tcPr marL="45720" marR="45720" anchor="ctr">
                    <a:lnT w="28575" cap="flat" cmpd="sng" algn="ctr">
                      <a:noFill/>
                      <a:prstDash val="solid"/>
                      <a:round/>
                      <a:headEnd type="none" w="med" len="med"/>
                      <a:tailEnd type="none" w="med" len="med"/>
                    </a:lnT>
                    <a:lnB w="28575" cap="flat" cmpd="sng" algn="ctr">
                      <a:solidFill>
                        <a:srgbClr val="878787"/>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100000710"/>
                  </a:ext>
                </a:extLst>
              </a:tr>
              <a:tr h="603367">
                <a:tc>
                  <a:txBody>
                    <a:bodyPr/>
                    <a:lstStyle/>
                    <a:p>
                      <a:pPr marL="50800" algn="l">
                        <a:lnSpc>
                          <a:spcPct val="110000"/>
                        </a:lnSpc>
                        <a:spcBef>
                          <a:spcPts val="165"/>
                        </a:spcBef>
                      </a:pPr>
                      <a:r>
                        <a:rPr lang="en-US" sz="1050" b="1" spc="-10" dirty="0">
                          <a:latin typeface="Slate Pro" panose="02000506040000020004" pitchFamily="2" charset="0"/>
                          <a:cs typeface="Calibri"/>
                          <a:sym typeface="Slate Pro" panose="02000506040000020004" pitchFamily="2" charset="0"/>
                        </a:rPr>
                        <a:t>Deal Registration</a:t>
                      </a:r>
                      <a:endParaRPr sz="1050" b="1" dirty="0">
                        <a:latin typeface="Slate Pro" panose="02000506040000020004" pitchFamily="2" charset="0"/>
                        <a:cs typeface="Calibri"/>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lnB w="6350">
                      <a:solidFill>
                        <a:srgbClr val="878787"/>
                      </a:solidFill>
                      <a:prstDash val="solid"/>
                    </a:lnB>
                  </a:tcPr>
                </a:tc>
                <a:tc>
                  <a:txBody>
                    <a:bodyPr/>
                    <a:lstStyle/>
                    <a:p>
                      <a:pPr marL="51435" algn="l">
                        <a:lnSpc>
                          <a:spcPct val="110000"/>
                        </a:lnSpc>
                        <a:spcBef>
                          <a:spcPts val="165"/>
                        </a:spcBef>
                      </a:pPr>
                      <a:r>
                        <a:rPr lang="en-US" sz="1050">
                          <a:latin typeface="Slate Pro" panose="02000506040000020004" pitchFamily="2" charset="0"/>
                          <a:cs typeface="Calibri"/>
                          <a:sym typeface="Slate Pro" panose="02000506040000020004" pitchFamily="2" charset="0"/>
                        </a:rPr>
                        <a:t>Commission</a:t>
                      </a:r>
                      <a:endParaRPr sz="1050">
                        <a:latin typeface="Slate Pro" panose="02000506040000020004" pitchFamily="2" charset="0"/>
                        <a:cs typeface="Calibri"/>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lnB w="6350">
                      <a:solidFill>
                        <a:srgbClr val="878787"/>
                      </a:solidFill>
                      <a:prstDash val="solid"/>
                    </a:lnB>
                  </a:tcPr>
                </a:tc>
                <a:tc>
                  <a:txBody>
                    <a:bodyPr/>
                    <a:lstStyle/>
                    <a:p>
                      <a:pPr marL="59690" algn="l">
                        <a:lnSpc>
                          <a:spcPct val="110000"/>
                        </a:lnSpc>
                        <a:spcBef>
                          <a:spcPts val="165"/>
                        </a:spcBef>
                      </a:pPr>
                      <a:r>
                        <a:rPr sz="1050" dirty="0">
                          <a:latin typeface="Slate Pro" panose="02000506040000020004" pitchFamily="2" charset="0"/>
                          <a:cs typeface="Calibri"/>
                          <a:sym typeface="Slate Pro" panose="02000506040000020004" pitchFamily="2" charset="0"/>
                        </a:rPr>
                        <a:t>By</a:t>
                      </a:r>
                      <a:r>
                        <a:rPr sz="1050" spc="65" dirty="0">
                          <a:latin typeface="Slate Pro" panose="02000506040000020004" pitchFamily="2" charset="0"/>
                          <a:cs typeface="Calibri"/>
                          <a:sym typeface="Slate Pro" panose="02000506040000020004" pitchFamily="2" charset="0"/>
                        </a:rPr>
                        <a:t> </a:t>
                      </a:r>
                      <a:r>
                        <a:rPr sz="1050" spc="-20" dirty="0">
                          <a:latin typeface="Slate Pro" panose="02000506040000020004" pitchFamily="2" charset="0"/>
                          <a:cs typeface="Calibri"/>
                          <a:sym typeface="Slate Pro" panose="02000506040000020004" pitchFamily="2" charset="0"/>
                        </a:rPr>
                        <a:t>deal</a:t>
                      </a:r>
                      <a:endParaRPr sz="1050" dirty="0">
                        <a:latin typeface="Slate Pro" panose="02000506040000020004" pitchFamily="2" charset="0"/>
                        <a:cs typeface="Calibri"/>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lnB w="6350">
                      <a:solidFill>
                        <a:srgbClr val="878787"/>
                      </a:solidFill>
                      <a:prstDash val="solid"/>
                    </a:lnB>
                  </a:tcPr>
                </a:tc>
                <a:tc rowSpan="4">
                  <a:txBody>
                    <a:bodyPr/>
                    <a:lstStyle/>
                    <a:p>
                      <a:pPr marL="67310" algn="l">
                        <a:lnSpc>
                          <a:spcPct val="110000"/>
                        </a:lnSpc>
                        <a:spcBef>
                          <a:spcPts val="165"/>
                        </a:spcBef>
                      </a:pPr>
                      <a:r>
                        <a:rPr lang="en-US" sz="1050" dirty="0">
                          <a:solidFill>
                            <a:schemeClr val="tx1"/>
                          </a:solidFill>
                          <a:latin typeface="Slate Pro" panose="02000506040000020004" pitchFamily="2" charset="0"/>
                          <a:ea typeface="+mn-ea"/>
                          <a:cs typeface="Calibri"/>
                          <a:sym typeface="Slate Pro" panose="02000506040000020004" pitchFamily="2" charset="0"/>
                        </a:rPr>
                        <a:t>45 days after the end of the calendar month in which the commissions were earned</a:t>
                      </a:r>
                    </a:p>
                  </a:txBody>
                  <a:tcPr marL="45720" marR="45720" anchor="ctr">
                    <a:lnT w="28575"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8419" algn="l">
                        <a:lnSpc>
                          <a:spcPct val="110000"/>
                        </a:lnSpc>
                        <a:spcBef>
                          <a:spcPts val="160"/>
                        </a:spcBef>
                      </a:pPr>
                      <a:r>
                        <a:rPr sz="1050" dirty="0">
                          <a:latin typeface="Slate Pro" panose="02000506040000020004" pitchFamily="2" charset="0"/>
                          <a:cs typeface="Calibri"/>
                          <a:sym typeface="Slate Pro" panose="02000506040000020004" pitchFamily="2" charset="0"/>
                        </a:rPr>
                        <a:t>Applicable</a:t>
                      </a:r>
                      <a:r>
                        <a:rPr sz="1050" spc="80" dirty="0">
                          <a:latin typeface="Slate Pro" panose="02000506040000020004" pitchFamily="2" charset="0"/>
                          <a:cs typeface="Calibri"/>
                          <a:sym typeface="Slate Pro" panose="02000506040000020004" pitchFamily="2" charset="0"/>
                        </a:rPr>
                        <a:t> </a:t>
                      </a:r>
                      <a:r>
                        <a:rPr lang="en-US" sz="1050" dirty="0">
                          <a:latin typeface="Slate Pro" panose="02000506040000020004" pitchFamily="2" charset="0"/>
                          <a:cs typeface="Calibri"/>
                          <a:sym typeface="Slate Pro" panose="02000506040000020004" pitchFamily="2" charset="0"/>
                        </a:rPr>
                        <a:t>for all registered deals.</a:t>
                      </a:r>
                      <a:endParaRPr sz="1050" dirty="0">
                        <a:latin typeface="Slate Pro" panose="02000506040000020004" pitchFamily="2" charset="0"/>
                        <a:cs typeface="Calibri"/>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6515" algn="l">
                        <a:lnSpc>
                          <a:spcPct val="110000"/>
                        </a:lnSpc>
                        <a:spcBef>
                          <a:spcPts val="160"/>
                        </a:spcBef>
                      </a:pPr>
                      <a:r>
                        <a:rPr lang="en-US" sz="1050" spc="-10" dirty="0">
                          <a:latin typeface="Slate Pro" panose="02000506040000020004" pitchFamily="2" charset="0"/>
                          <a:cs typeface="Calibri"/>
                          <a:sym typeface="Slate Pro" panose="02000506040000020004" pitchFamily="2" charset="0"/>
                        </a:rPr>
                        <a:t>Same Commission %</a:t>
                      </a:r>
                      <a:br>
                        <a:rPr lang="en-US" sz="1050" spc="-10" dirty="0">
                          <a:latin typeface="Slate Pro" panose="02000506040000020004" pitchFamily="2" charset="0"/>
                          <a:cs typeface="Calibri"/>
                          <a:sym typeface="Slate Pro" panose="02000506040000020004" pitchFamily="2" charset="0"/>
                        </a:rPr>
                      </a:br>
                      <a:r>
                        <a:rPr lang="en-US" sz="1050" spc="-10" dirty="0">
                          <a:latin typeface="Slate Pro" panose="02000506040000020004" pitchFamily="2" charset="0"/>
                          <a:cs typeface="Calibri"/>
                          <a:sym typeface="Slate Pro" panose="02000506040000020004" pitchFamily="2" charset="0"/>
                        </a:rPr>
                        <a:t>for all Tiers</a:t>
                      </a:r>
                      <a:endParaRPr lang="en-US" sz="1050" dirty="0">
                        <a:latin typeface="Slate Pro" panose="02000506040000020004" pitchFamily="2" charset="0"/>
                        <a:cs typeface="Calibri"/>
                        <a:sym typeface="Slate Pro" panose="02000506040000020004" pitchFamily="2" charset="0"/>
                      </a:endParaRPr>
                    </a:p>
                  </a:txBody>
                  <a:tcPr marL="45720" marR="45720" anchor="ctr">
                    <a:lnT w="28575"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extLst>
                  <a:ext uri="{0D108BD9-81ED-4DB2-BD59-A6C34878D82A}">
                    <a16:rowId xmlns:a16="http://schemas.microsoft.com/office/drawing/2014/main" val="1020236347"/>
                  </a:ext>
                </a:extLst>
              </a:tr>
              <a:tr h="712264">
                <a:tc>
                  <a:txBody>
                    <a:bodyPr/>
                    <a:lstStyle/>
                    <a:p>
                      <a:pPr marL="50800" algn="l">
                        <a:lnSpc>
                          <a:spcPct val="110000"/>
                        </a:lnSpc>
                        <a:spcBef>
                          <a:spcPts val="0"/>
                        </a:spcBef>
                      </a:pPr>
                      <a:r>
                        <a:rPr lang="en-US" sz="1050" b="1" dirty="0">
                          <a:latin typeface="Slate Pro" panose="02000506040000020004" pitchFamily="2" charset="0"/>
                          <a:cs typeface="Calibri"/>
                          <a:sym typeface="Slate Pro" panose="02000506040000020004" pitchFamily="2" charset="0"/>
                        </a:rPr>
                        <a:t>Partner Full Cycle: </a:t>
                      </a:r>
                    </a:p>
                    <a:p>
                      <a:pPr marL="50800" algn="l">
                        <a:lnSpc>
                          <a:spcPct val="110000"/>
                        </a:lnSpc>
                        <a:spcBef>
                          <a:spcPts val="0"/>
                        </a:spcBef>
                      </a:pPr>
                      <a:r>
                        <a:rPr lang="en-US" sz="1050" b="1" dirty="0">
                          <a:latin typeface="Slate Pro" panose="02000506040000020004" pitchFamily="2" charset="0"/>
                          <a:cs typeface="Calibri"/>
                          <a:sym typeface="Slate Pro" panose="02000506040000020004" pitchFamily="2" charset="0"/>
                        </a:rPr>
                        <a:t>Find to Close</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1435" algn="l">
                        <a:lnSpc>
                          <a:spcPct val="110000"/>
                        </a:lnSpc>
                        <a:spcBef>
                          <a:spcPts val="165"/>
                        </a:spcBef>
                      </a:pPr>
                      <a:r>
                        <a:rPr lang="en-US" sz="1050">
                          <a:latin typeface="Slate Pro" panose="02000506040000020004" pitchFamily="2" charset="0"/>
                          <a:cs typeface="Calibri"/>
                          <a:sym typeface="Slate Pro" panose="02000506040000020004" pitchFamily="2" charset="0"/>
                        </a:rPr>
                        <a:t>Commission</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9690" algn="l">
                        <a:lnSpc>
                          <a:spcPct val="110000"/>
                        </a:lnSpc>
                        <a:spcBef>
                          <a:spcPts val="160"/>
                        </a:spcBef>
                      </a:pPr>
                      <a:r>
                        <a:rPr sz="1050">
                          <a:latin typeface="Slate Pro" panose="02000506040000020004" pitchFamily="2" charset="0"/>
                          <a:cs typeface="Calibri"/>
                          <a:sym typeface="Slate Pro" panose="02000506040000020004" pitchFamily="2" charset="0"/>
                        </a:rPr>
                        <a:t>By</a:t>
                      </a:r>
                      <a:r>
                        <a:rPr sz="1050" spc="65">
                          <a:latin typeface="Slate Pro" panose="02000506040000020004" pitchFamily="2" charset="0"/>
                          <a:cs typeface="Calibri"/>
                          <a:sym typeface="Slate Pro" panose="02000506040000020004" pitchFamily="2" charset="0"/>
                        </a:rPr>
                        <a:t> </a:t>
                      </a:r>
                      <a:r>
                        <a:rPr sz="1050" spc="-20">
                          <a:latin typeface="Slate Pro" panose="02000506040000020004" pitchFamily="2" charset="0"/>
                          <a:cs typeface="Calibri"/>
                          <a:sym typeface="Slate Pro" panose="02000506040000020004" pitchFamily="2" charset="0"/>
                        </a:rPr>
                        <a:t>deal</a:t>
                      </a:r>
                      <a:endParaRPr sz="105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vMerge="1">
                  <a:txBody>
                    <a:bodyPr/>
                    <a:lstStyle/>
                    <a:p>
                      <a:pPr marL="67310">
                        <a:lnSpc>
                          <a:spcPct val="100000"/>
                        </a:lnSpc>
                        <a:spcBef>
                          <a:spcPts val="160"/>
                        </a:spcBef>
                      </a:pPr>
                      <a:r>
                        <a:rPr lang="en-US" sz="1050" dirty="0">
                          <a:latin typeface="Proxima Nova Rg" panose="02000506030000020004" pitchFamily="50" charset="0"/>
                          <a:cs typeface="Calibri"/>
                        </a:rPr>
                        <a:t>Net</a:t>
                      </a:r>
                      <a:r>
                        <a:rPr lang="en-US" sz="1050" spc="5" dirty="0">
                          <a:latin typeface="Proxima Nova Rg" panose="02000506030000020004" pitchFamily="50" charset="0"/>
                          <a:cs typeface="Calibri"/>
                        </a:rPr>
                        <a:t> </a:t>
                      </a:r>
                      <a:r>
                        <a:rPr lang="en-US" sz="1050" spc="-20" dirty="0">
                          <a:latin typeface="Proxima Nova Rg" panose="02000506030000020004" pitchFamily="50" charset="0"/>
                          <a:cs typeface="Calibri"/>
                        </a:rPr>
                        <a:t>30</a:t>
                      </a:r>
                      <a:r>
                        <a:rPr lang="en-US" sz="1050" spc="10" dirty="0">
                          <a:latin typeface="Proxima Nova Rg" panose="02000506030000020004" pitchFamily="50" charset="0"/>
                          <a:cs typeface="Calibri"/>
                        </a:rPr>
                        <a:t> </a:t>
                      </a:r>
                      <a:r>
                        <a:rPr lang="en-US" sz="1050" dirty="0">
                          <a:latin typeface="Proxima Nova Rg" panose="02000506030000020004" pitchFamily="50" charset="0"/>
                          <a:cs typeface="Calibri"/>
                        </a:rPr>
                        <a:t>days</a:t>
                      </a:r>
                      <a:r>
                        <a:rPr lang="en-US" sz="1050" spc="10" dirty="0">
                          <a:latin typeface="Proxima Nova Rg" panose="02000506030000020004" pitchFamily="50" charset="0"/>
                          <a:cs typeface="Calibri"/>
                        </a:rPr>
                        <a:t> </a:t>
                      </a:r>
                      <a:r>
                        <a:rPr lang="en-US" sz="1050" spc="-10" dirty="0">
                          <a:latin typeface="Proxima Nova Rg" panose="02000506030000020004" pitchFamily="50" charset="0"/>
                          <a:cs typeface="Calibri"/>
                        </a:rPr>
                        <a:t>after</a:t>
                      </a:r>
                    </a:p>
                    <a:p>
                      <a:pPr marL="67310">
                        <a:lnSpc>
                          <a:spcPts val="860"/>
                        </a:lnSpc>
                      </a:pPr>
                      <a:r>
                        <a:rPr lang="en-US" sz="1050" dirty="0">
                          <a:latin typeface="Proxima Nova Rg" panose="02000506030000020004" pitchFamily="50" charset="0"/>
                          <a:cs typeface="Calibri"/>
                        </a:rPr>
                        <a:t>customer</a:t>
                      </a:r>
                      <a:r>
                        <a:rPr lang="en-US" sz="1050" spc="30" dirty="0">
                          <a:latin typeface="Proxima Nova Rg" panose="02000506030000020004" pitchFamily="50" charset="0"/>
                          <a:cs typeface="Calibri"/>
                        </a:rPr>
                        <a:t> </a:t>
                      </a:r>
                      <a:r>
                        <a:rPr lang="en-US" sz="1050" dirty="0">
                          <a:latin typeface="Proxima Nova Rg" panose="02000506030000020004" pitchFamily="50" charset="0"/>
                          <a:cs typeface="Calibri"/>
                        </a:rPr>
                        <a:t>has</a:t>
                      </a:r>
                      <a:r>
                        <a:rPr lang="en-US" sz="1050" spc="30" dirty="0">
                          <a:latin typeface="Proxima Nova Rg" panose="02000506030000020004" pitchFamily="50" charset="0"/>
                          <a:cs typeface="Calibri"/>
                        </a:rPr>
                        <a:t> </a:t>
                      </a:r>
                      <a:r>
                        <a:rPr lang="en-US" sz="1050" spc="-20" dirty="0">
                          <a:latin typeface="Proxima Nova Rg" panose="02000506030000020004" pitchFamily="50" charset="0"/>
                          <a:cs typeface="Calibri"/>
                        </a:rPr>
                        <a:t>paid</a:t>
                      </a:r>
                    </a:p>
                    <a:p>
                      <a:pPr marL="67310">
                        <a:lnSpc>
                          <a:spcPts val="860"/>
                        </a:lnSpc>
                      </a:pPr>
                      <a:r>
                        <a:rPr lang="en-US" sz="1050" spc="-10" dirty="0">
                          <a:latin typeface="Proxima Nova Rg" panose="02000506030000020004" pitchFamily="50" charset="0"/>
                          <a:cs typeface="Calibri"/>
                        </a:rPr>
                        <a:t>QAD</a:t>
                      </a:r>
                      <a:endParaRPr lang="en-US" sz="1050" dirty="0">
                        <a:latin typeface="Proxima Nova Rg" panose="02000506030000020004" pitchFamily="50" charset="0"/>
                        <a:cs typeface="Calibri"/>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8419" algn="l">
                        <a:lnSpc>
                          <a:spcPct val="110000"/>
                        </a:lnSpc>
                        <a:spcBef>
                          <a:spcPts val="160"/>
                        </a:spcBef>
                      </a:pPr>
                      <a:r>
                        <a:rPr sz="1050" dirty="0">
                          <a:latin typeface="Slate Pro" panose="02000506040000020004" pitchFamily="2" charset="0"/>
                          <a:cs typeface="Calibri"/>
                          <a:sym typeface="Slate Pro" panose="02000506040000020004" pitchFamily="2" charset="0"/>
                        </a:rPr>
                        <a:t>Applicable</a:t>
                      </a:r>
                      <a:r>
                        <a:rPr sz="1050" spc="35"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for</a:t>
                      </a:r>
                      <a:r>
                        <a:rPr sz="1050" spc="40" dirty="0">
                          <a:latin typeface="Slate Pro" panose="02000506040000020004" pitchFamily="2" charset="0"/>
                          <a:cs typeface="Calibri"/>
                          <a:sym typeface="Slate Pro" panose="02000506040000020004" pitchFamily="2" charset="0"/>
                        </a:rPr>
                        <a:t> </a:t>
                      </a:r>
                      <a:r>
                        <a:rPr lang="en-US" sz="1050" spc="40" dirty="0">
                          <a:latin typeface="Slate Pro" panose="02000506040000020004" pitchFamily="2" charset="0"/>
                          <a:cs typeface="Calibri"/>
                          <a:sym typeface="Slate Pro" panose="02000506040000020004" pitchFamily="2" charset="0"/>
                        </a:rPr>
                        <a:t>Partners who </a:t>
                      </a:r>
                      <a:r>
                        <a:rPr sz="1050" dirty="0">
                          <a:latin typeface="Slate Pro" panose="02000506040000020004" pitchFamily="2" charset="0"/>
                          <a:cs typeface="Calibri"/>
                          <a:sym typeface="Slate Pro" panose="02000506040000020004" pitchFamily="2" charset="0"/>
                        </a:rPr>
                        <a:t>manag</a:t>
                      </a:r>
                      <a:r>
                        <a:rPr lang="en-US" sz="1050" dirty="0">
                          <a:latin typeface="Slate Pro" panose="02000506040000020004" pitchFamily="2" charset="0"/>
                          <a:cs typeface="Calibri"/>
                          <a:sym typeface="Slate Pro" panose="02000506040000020004" pitchFamily="2" charset="0"/>
                        </a:rPr>
                        <a:t>e the</a:t>
                      </a:r>
                      <a:r>
                        <a:rPr sz="1050" spc="40"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entire</a:t>
                      </a:r>
                      <a:r>
                        <a:rPr sz="1050" spc="40"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sales</a:t>
                      </a:r>
                      <a:r>
                        <a:rPr sz="1050" spc="40" dirty="0">
                          <a:latin typeface="Slate Pro" panose="02000506040000020004" pitchFamily="2" charset="0"/>
                          <a:cs typeface="Calibri"/>
                          <a:sym typeface="Slate Pro" panose="02000506040000020004" pitchFamily="2" charset="0"/>
                        </a:rPr>
                        <a:t> </a:t>
                      </a:r>
                      <a:r>
                        <a:rPr sz="1050" spc="-10" dirty="0">
                          <a:latin typeface="Slate Pro" panose="02000506040000020004" pitchFamily="2" charset="0"/>
                          <a:cs typeface="Calibri"/>
                          <a:sym typeface="Slate Pro" panose="02000506040000020004" pitchFamily="2" charset="0"/>
                        </a:rPr>
                        <a:t>cycl</a:t>
                      </a:r>
                      <a:r>
                        <a:rPr lang="en-US" sz="1050" spc="-10" dirty="0">
                          <a:latin typeface="Slate Pro" panose="02000506040000020004" pitchFamily="2" charset="0"/>
                          <a:cs typeface="Calibri"/>
                          <a:sym typeface="Slate Pro" panose="02000506040000020004" pitchFamily="2" charset="0"/>
                        </a:rPr>
                        <a:t>e. </a:t>
                      </a:r>
                      <a:r>
                        <a:rPr sz="1050" dirty="0">
                          <a:latin typeface="Slate Pro" panose="02000506040000020004" pitchFamily="2" charset="0"/>
                          <a:cs typeface="Calibri"/>
                          <a:sym typeface="Slate Pro" panose="02000506040000020004" pitchFamily="2" charset="0"/>
                        </a:rPr>
                        <a:t>Technical</a:t>
                      </a:r>
                      <a:r>
                        <a:rPr sz="1050" spc="60"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Assistance</a:t>
                      </a:r>
                      <a:r>
                        <a:rPr sz="1050" spc="65" dirty="0">
                          <a:latin typeface="Slate Pro" panose="02000506040000020004" pitchFamily="2" charset="0"/>
                          <a:cs typeface="Calibri"/>
                          <a:sym typeface="Slate Pro" panose="02000506040000020004" pitchFamily="2" charset="0"/>
                        </a:rPr>
                        <a:t> </a:t>
                      </a:r>
                      <a:r>
                        <a:rPr lang="en-US" sz="1050" dirty="0">
                          <a:latin typeface="Slate Pro" panose="02000506040000020004" pitchFamily="2" charset="0"/>
                          <a:cs typeface="Calibri"/>
                          <a:sym typeface="Slate Pro" panose="02000506040000020004" pitchFamily="2" charset="0"/>
                        </a:rPr>
                        <a:t>incentive</a:t>
                      </a:r>
                      <a:r>
                        <a:rPr sz="1050" spc="65"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is</a:t>
                      </a:r>
                      <a:r>
                        <a:rPr sz="1050" spc="65"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additive</a:t>
                      </a:r>
                      <a:r>
                        <a:rPr sz="1050" spc="65"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if</a:t>
                      </a:r>
                      <a:r>
                        <a:rPr sz="1050" spc="60"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it</a:t>
                      </a:r>
                      <a:r>
                        <a:rPr sz="1050" spc="65" dirty="0">
                          <a:latin typeface="Slate Pro" panose="02000506040000020004" pitchFamily="2" charset="0"/>
                          <a:cs typeface="Calibri"/>
                          <a:sym typeface="Slate Pro" panose="02000506040000020004" pitchFamily="2" charset="0"/>
                        </a:rPr>
                        <a:t> </a:t>
                      </a:r>
                      <a:r>
                        <a:rPr sz="1050" spc="-25" dirty="0">
                          <a:latin typeface="Slate Pro" panose="02000506040000020004" pitchFamily="2" charset="0"/>
                          <a:cs typeface="Calibri"/>
                          <a:sym typeface="Slate Pro" panose="02000506040000020004" pitchFamily="2" charset="0"/>
                        </a:rPr>
                        <a:t>is</a:t>
                      </a:r>
                    </a:p>
                    <a:p>
                      <a:pPr marL="58419" algn="l">
                        <a:lnSpc>
                          <a:spcPct val="110000"/>
                        </a:lnSpc>
                      </a:pPr>
                      <a:r>
                        <a:rPr sz="1050" dirty="0">
                          <a:latin typeface="Slate Pro" panose="02000506040000020004" pitchFamily="2" charset="0"/>
                          <a:cs typeface="Calibri"/>
                          <a:sym typeface="Slate Pro" panose="02000506040000020004" pitchFamily="2" charset="0"/>
                        </a:rPr>
                        <a:t>the</a:t>
                      </a:r>
                      <a:r>
                        <a:rPr sz="1050" spc="75"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same</a:t>
                      </a:r>
                      <a:r>
                        <a:rPr sz="1050" spc="80" dirty="0">
                          <a:latin typeface="Slate Pro" panose="02000506040000020004" pitchFamily="2" charset="0"/>
                          <a:cs typeface="Calibri"/>
                          <a:sym typeface="Slate Pro" panose="02000506040000020004" pitchFamily="2" charset="0"/>
                        </a:rPr>
                        <a:t> </a:t>
                      </a:r>
                      <a:r>
                        <a:rPr lang="en-US" sz="1050" spc="-10" dirty="0">
                          <a:latin typeface="Slate Pro" panose="02000506040000020004" pitchFamily="2" charset="0"/>
                          <a:cs typeface="Calibri"/>
                          <a:sym typeface="Slate Pro" panose="02000506040000020004" pitchFamily="2" charset="0"/>
                        </a:rPr>
                        <a:t>Partner</a:t>
                      </a:r>
                      <a:r>
                        <a:rPr sz="1050" spc="-10" dirty="0">
                          <a:latin typeface="Slate Pro" panose="02000506040000020004" pitchFamily="2" charset="0"/>
                          <a:cs typeface="Calibri"/>
                          <a:sym typeface="Slate Pro" panose="02000506040000020004" pitchFamily="2" charset="0"/>
                        </a:rPr>
                        <a:t>.</a:t>
                      </a:r>
                      <a:r>
                        <a:rPr sz="1050" spc="75"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Technical</a:t>
                      </a:r>
                      <a:r>
                        <a:rPr sz="1050" spc="80"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Assistance</a:t>
                      </a:r>
                      <a:r>
                        <a:rPr sz="1050" spc="75" dirty="0">
                          <a:latin typeface="Slate Pro" panose="02000506040000020004" pitchFamily="2" charset="0"/>
                          <a:cs typeface="Calibri"/>
                          <a:sym typeface="Slate Pro" panose="02000506040000020004" pitchFamily="2" charset="0"/>
                        </a:rPr>
                        <a:t> </a:t>
                      </a:r>
                      <a:r>
                        <a:rPr lang="en-US" sz="1050" spc="-10" dirty="0">
                          <a:latin typeface="Slate Pro" panose="02000506040000020004" pitchFamily="2" charset="0"/>
                          <a:cs typeface="Calibri"/>
                          <a:sym typeface="Slate Pro" panose="02000506040000020004" pitchFamily="2" charset="0"/>
                        </a:rPr>
                        <a:t>incentive is not </a:t>
                      </a:r>
                      <a:r>
                        <a:rPr lang="en-US" sz="1050" dirty="0">
                          <a:latin typeface="Slate Pro" panose="02000506040000020004" pitchFamily="2" charset="0"/>
                          <a:cs typeface="Calibri"/>
                          <a:sym typeface="Slate Pro" panose="02000506040000020004" pitchFamily="2" charset="0"/>
                        </a:rPr>
                        <a:t>applicable </a:t>
                      </a:r>
                      <a:r>
                        <a:rPr sz="1050" dirty="0">
                          <a:latin typeface="Slate Pro" panose="02000506040000020004" pitchFamily="2" charset="0"/>
                          <a:cs typeface="Calibri"/>
                          <a:sym typeface="Slate Pro" panose="02000506040000020004" pitchFamily="2" charset="0"/>
                        </a:rPr>
                        <a:t>if</a:t>
                      </a:r>
                      <a:r>
                        <a:rPr sz="1050" spc="20" dirty="0">
                          <a:latin typeface="Slate Pro" panose="02000506040000020004" pitchFamily="2" charset="0"/>
                          <a:cs typeface="Calibri"/>
                          <a:sym typeface="Slate Pro" panose="02000506040000020004" pitchFamily="2" charset="0"/>
                        </a:rPr>
                        <a:t> </a:t>
                      </a:r>
                      <a:r>
                        <a:rPr lang="en-US" sz="1050" spc="20" dirty="0">
                          <a:latin typeface="Slate Pro" panose="02000506040000020004" pitchFamily="2" charset="0"/>
                          <a:cs typeface="Calibri"/>
                          <a:sym typeface="Slate Pro" panose="02000506040000020004" pitchFamily="2" charset="0"/>
                        </a:rPr>
                        <a:t>ACME </a:t>
                      </a:r>
                      <a:r>
                        <a:rPr sz="1050" dirty="0">
                          <a:latin typeface="Slate Pro" panose="02000506040000020004" pitchFamily="2" charset="0"/>
                          <a:cs typeface="Calibri"/>
                          <a:sym typeface="Slate Pro" panose="02000506040000020004" pitchFamily="2" charset="0"/>
                        </a:rPr>
                        <a:t>provides</a:t>
                      </a:r>
                      <a:r>
                        <a:rPr sz="1050" spc="15" dirty="0">
                          <a:latin typeface="Slate Pro" panose="02000506040000020004" pitchFamily="2" charset="0"/>
                          <a:cs typeface="Calibri"/>
                          <a:sym typeface="Slate Pro" panose="02000506040000020004" pitchFamily="2" charset="0"/>
                        </a:rPr>
                        <a:t> </a:t>
                      </a:r>
                      <a:r>
                        <a:rPr lang="en-US" sz="1050" dirty="0">
                          <a:latin typeface="Slate Pro" panose="02000506040000020004" pitchFamily="2" charset="0"/>
                          <a:cs typeface="Calibri"/>
                          <a:sym typeface="Slate Pro" panose="02000506040000020004" pitchFamily="2" charset="0"/>
                        </a:rPr>
                        <a:t>it.</a:t>
                      </a:r>
                      <a:endParaRPr sz="105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6515" algn="l">
                        <a:lnSpc>
                          <a:spcPct val="110000"/>
                        </a:lnSpc>
                        <a:spcBef>
                          <a:spcPts val="160"/>
                        </a:spcBef>
                      </a:pPr>
                      <a:r>
                        <a:rPr lang="en-US" sz="1050" spc="-10">
                          <a:latin typeface="Slate Pro" panose="02000506040000020004" pitchFamily="2" charset="0"/>
                          <a:cs typeface="Calibri"/>
                          <a:sym typeface="Slate Pro" panose="02000506040000020004" pitchFamily="2" charset="0"/>
                        </a:rPr>
                        <a:t>By Tier</a:t>
                      </a:r>
                      <a:endParaRPr lang="en-US" sz="105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extLst>
                  <a:ext uri="{0D108BD9-81ED-4DB2-BD59-A6C34878D82A}">
                    <a16:rowId xmlns:a16="http://schemas.microsoft.com/office/drawing/2014/main" val="684034741"/>
                  </a:ext>
                </a:extLst>
              </a:tr>
              <a:tr h="603367">
                <a:tc>
                  <a:txBody>
                    <a:bodyPr/>
                    <a:lstStyle/>
                    <a:p>
                      <a:pPr marL="55563" indent="0" algn="l">
                        <a:lnSpc>
                          <a:spcPct val="110000"/>
                        </a:lnSpc>
                        <a:spcBef>
                          <a:spcPts val="545"/>
                        </a:spcBef>
                      </a:pPr>
                      <a:r>
                        <a:rPr lang="en-US" sz="1050" b="1" dirty="0">
                          <a:solidFill>
                            <a:schemeClr val="tx1"/>
                          </a:solidFill>
                          <a:latin typeface="Slate Pro" panose="02000506040000020004" pitchFamily="2" charset="0"/>
                          <a:cs typeface="Arial"/>
                          <a:sym typeface="Slate Pro" panose="02000506040000020004" pitchFamily="2" charset="0"/>
                        </a:rPr>
                        <a:t>Technical Pre-Sales Assistance</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1435" algn="l">
                        <a:lnSpc>
                          <a:spcPct val="110000"/>
                        </a:lnSpc>
                        <a:spcBef>
                          <a:spcPts val="165"/>
                        </a:spcBef>
                      </a:pPr>
                      <a:r>
                        <a:rPr lang="en-US" sz="1050">
                          <a:latin typeface="Slate Pro" panose="02000506040000020004" pitchFamily="2" charset="0"/>
                          <a:cs typeface="Calibri"/>
                          <a:sym typeface="Slate Pro" panose="02000506040000020004" pitchFamily="2" charset="0"/>
                        </a:rPr>
                        <a:t>Commission</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9690" algn="l">
                        <a:lnSpc>
                          <a:spcPct val="110000"/>
                        </a:lnSpc>
                        <a:spcBef>
                          <a:spcPts val="165"/>
                        </a:spcBef>
                      </a:pPr>
                      <a:r>
                        <a:rPr sz="1050" baseline="0">
                          <a:latin typeface="Slate Pro" panose="02000506040000020004" pitchFamily="2" charset="0"/>
                          <a:cs typeface="Calibri"/>
                          <a:sym typeface="Slate Pro" panose="02000506040000020004" pitchFamily="2" charset="0"/>
                        </a:rPr>
                        <a:t>By</a:t>
                      </a:r>
                      <a:r>
                        <a:rPr sz="1050" spc="65" baseline="0">
                          <a:latin typeface="Slate Pro" panose="02000506040000020004" pitchFamily="2" charset="0"/>
                          <a:cs typeface="Calibri"/>
                          <a:sym typeface="Slate Pro" panose="02000506040000020004" pitchFamily="2" charset="0"/>
                        </a:rPr>
                        <a:t> </a:t>
                      </a:r>
                      <a:r>
                        <a:rPr sz="1050" spc="-20" baseline="0">
                          <a:latin typeface="Slate Pro" panose="02000506040000020004" pitchFamily="2" charset="0"/>
                          <a:cs typeface="Calibri"/>
                          <a:sym typeface="Slate Pro" panose="02000506040000020004" pitchFamily="2" charset="0"/>
                        </a:rPr>
                        <a:t>deal</a:t>
                      </a:r>
                      <a:endParaRPr sz="1050" baseline="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vMerge="1">
                  <a:txBody>
                    <a:bodyPr/>
                    <a:lstStyle/>
                    <a:p>
                      <a:pPr marL="67310">
                        <a:lnSpc>
                          <a:spcPct val="100000"/>
                        </a:lnSpc>
                        <a:spcBef>
                          <a:spcPts val="165"/>
                        </a:spcBef>
                      </a:pPr>
                      <a:r>
                        <a:rPr sz="1050" baseline="0" dirty="0">
                          <a:latin typeface="Proxima Nova Rg" panose="02000506030000020004" pitchFamily="50" charset="0"/>
                          <a:cs typeface="Calibri"/>
                        </a:rPr>
                        <a:t>Net</a:t>
                      </a:r>
                      <a:r>
                        <a:rPr sz="1050" spc="5" baseline="0" dirty="0">
                          <a:latin typeface="Proxima Nova Rg" panose="02000506030000020004" pitchFamily="50" charset="0"/>
                          <a:cs typeface="Calibri"/>
                        </a:rPr>
                        <a:t> </a:t>
                      </a:r>
                      <a:r>
                        <a:rPr sz="1050" spc="-20" baseline="0" dirty="0">
                          <a:latin typeface="Proxima Nova Rg" panose="02000506030000020004" pitchFamily="50" charset="0"/>
                          <a:cs typeface="Calibri"/>
                        </a:rPr>
                        <a:t>30</a:t>
                      </a:r>
                      <a:r>
                        <a:rPr sz="1050" spc="10" baseline="0" dirty="0">
                          <a:latin typeface="Proxima Nova Rg" panose="02000506030000020004" pitchFamily="50" charset="0"/>
                          <a:cs typeface="Calibri"/>
                        </a:rPr>
                        <a:t> </a:t>
                      </a:r>
                      <a:r>
                        <a:rPr sz="1050" baseline="0" dirty="0">
                          <a:latin typeface="Proxima Nova Rg" panose="02000506030000020004" pitchFamily="50" charset="0"/>
                          <a:cs typeface="Calibri"/>
                        </a:rPr>
                        <a:t>days</a:t>
                      </a:r>
                      <a:r>
                        <a:rPr sz="1050" spc="10" baseline="0" dirty="0">
                          <a:latin typeface="Proxima Nova Rg" panose="02000506030000020004" pitchFamily="50" charset="0"/>
                          <a:cs typeface="Calibri"/>
                        </a:rPr>
                        <a:t> </a:t>
                      </a:r>
                      <a:r>
                        <a:rPr sz="1050" spc="-10" baseline="0" dirty="0">
                          <a:latin typeface="Proxima Nova Rg" panose="02000506030000020004" pitchFamily="50" charset="0"/>
                          <a:cs typeface="Calibri"/>
                        </a:rPr>
                        <a:t>after</a:t>
                      </a:r>
                    </a:p>
                    <a:p>
                      <a:pPr marL="67310">
                        <a:lnSpc>
                          <a:spcPts val="860"/>
                        </a:lnSpc>
                      </a:pPr>
                      <a:r>
                        <a:rPr sz="1050" baseline="0" dirty="0">
                          <a:latin typeface="Proxima Nova Rg" panose="02000506030000020004" pitchFamily="50" charset="0"/>
                          <a:cs typeface="Calibri"/>
                        </a:rPr>
                        <a:t>customer</a:t>
                      </a:r>
                      <a:r>
                        <a:rPr sz="1050" spc="30" baseline="0" dirty="0">
                          <a:latin typeface="Proxima Nova Rg" panose="02000506030000020004" pitchFamily="50" charset="0"/>
                          <a:cs typeface="Calibri"/>
                        </a:rPr>
                        <a:t> </a:t>
                      </a:r>
                      <a:r>
                        <a:rPr sz="1050" baseline="0" dirty="0">
                          <a:latin typeface="Proxima Nova Rg" panose="02000506030000020004" pitchFamily="50" charset="0"/>
                          <a:cs typeface="Calibri"/>
                        </a:rPr>
                        <a:t>has</a:t>
                      </a:r>
                      <a:r>
                        <a:rPr sz="1050" spc="30" baseline="0" dirty="0">
                          <a:latin typeface="Proxima Nova Rg" panose="02000506030000020004" pitchFamily="50" charset="0"/>
                          <a:cs typeface="Calibri"/>
                        </a:rPr>
                        <a:t> </a:t>
                      </a:r>
                      <a:r>
                        <a:rPr sz="1050" spc="-20" baseline="0" dirty="0">
                          <a:latin typeface="Proxima Nova Rg" panose="02000506030000020004" pitchFamily="50" charset="0"/>
                          <a:cs typeface="Calibri"/>
                        </a:rPr>
                        <a:t>paid</a:t>
                      </a:r>
                    </a:p>
                    <a:p>
                      <a:pPr marL="67310">
                        <a:lnSpc>
                          <a:spcPts val="860"/>
                        </a:lnSpc>
                      </a:pPr>
                      <a:r>
                        <a:rPr lang="en-US" sz="1050" spc="-10" baseline="0" dirty="0">
                          <a:latin typeface="Proxima Nova Rg" panose="02000506030000020004" pitchFamily="50" charset="0"/>
                          <a:cs typeface="Calibri"/>
                        </a:rPr>
                        <a:t>QAD</a:t>
                      </a:r>
                      <a:endParaRPr sz="1050" baseline="0" dirty="0">
                        <a:latin typeface="Proxima Nova Rg" panose="02000506030000020004" pitchFamily="50" charset="0"/>
                        <a:cs typeface="Calibri"/>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8419" algn="l">
                        <a:lnSpc>
                          <a:spcPct val="110000"/>
                        </a:lnSpc>
                        <a:spcBef>
                          <a:spcPts val="160"/>
                        </a:spcBef>
                      </a:pPr>
                      <a:r>
                        <a:rPr sz="1050" baseline="0" dirty="0">
                          <a:latin typeface="Slate Pro" panose="02000506040000020004" pitchFamily="2" charset="0"/>
                          <a:cs typeface="Calibri"/>
                          <a:sym typeface="Slate Pro" panose="02000506040000020004" pitchFamily="2" charset="0"/>
                        </a:rPr>
                        <a:t>Applicable</a:t>
                      </a:r>
                      <a:r>
                        <a:rPr sz="1050" spc="80" baseline="0" dirty="0">
                          <a:latin typeface="Slate Pro" panose="02000506040000020004" pitchFamily="2" charset="0"/>
                          <a:cs typeface="Calibri"/>
                          <a:sym typeface="Slate Pro" panose="02000506040000020004" pitchFamily="2" charset="0"/>
                        </a:rPr>
                        <a:t> </a:t>
                      </a:r>
                      <a:r>
                        <a:rPr sz="1050" baseline="0" dirty="0">
                          <a:latin typeface="Slate Pro" panose="02000506040000020004" pitchFamily="2" charset="0"/>
                          <a:cs typeface="Calibri"/>
                          <a:sym typeface="Slate Pro" panose="02000506040000020004" pitchFamily="2" charset="0"/>
                        </a:rPr>
                        <a:t>for</a:t>
                      </a:r>
                      <a:r>
                        <a:rPr sz="1050" spc="85" baseline="0" dirty="0">
                          <a:latin typeface="Slate Pro" panose="02000506040000020004" pitchFamily="2" charset="0"/>
                          <a:cs typeface="Calibri"/>
                          <a:sym typeface="Slate Pro" panose="02000506040000020004" pitchFamily="2" charset="0"/>
                        </a:rPr>
                        <a:t> </a:t>
                      </a:r>
                      <a:r>
                        <a:rPr lang="en-US" sz="1050" spc="85" baseline="0" dirty="0">
                          <a:latin typeface="Slate Pro" panose="02000506040000020004" pitchFamily="2" charset="0"/>
                          <a:cs typeface="Calibri"/>
                          <a:sym typeface="Slate Pro" panose="02000506040000020004" pitchFamily="2" charset="0"/>
                        </a:rPr>
                        <a:t>P</a:t>
                      </a:r>
                      <a:r>
                        <a:rPr lang="en-US" sz="1050" baseline="0" dirty="0">
                          <a:latin typeface="Slate Pro" panose="02000506040000020004" pitchFamily="2" charset="0"/>
                          <a:cs typeface="Calibri"/>
                          <a:sym typeface="Slate Pro" panose="02000506040000020004" pitchFamily="2" charset="0"/>
                        </a:rPr>
                        <a:t>artners who provide the technical </a:t>
                      </a:r>
                      <a:br>
                        <a:rPr lang="en-US" sz="1050" baseline="0" dirty="0">
                          <a:latin typeface="Slate Pro" panose="02000506040000020004" pitchFamily="2" charset="0"/>
                          <a:cs typeface="Calibri"/>
                          <a:sym typeface="Slate Pro" panose="02000506040000020004" pitchFamily="2" charset="0"/>
                        </a:rPr>
                      </a:br>
                      <a:r>
                        <a:rPr lang="en-US" sz="1050" baseline="0" dirty="0">
                          <a:latin typeface="Slate Pro" panose="02000506040000020004" pitchFamily="2" charset="0"/>
                          <a:cs typeface="Calibri"/>
                          <a:sym typeface="Slate Pro" panose="02000506040000020004" pitchFamily="2" charset="0"/>
                        </a:rPr>
                        <a:t>pre-sales and demo assistance during the deal cycle.</a:t>
                      </a:r>
                      <a:endParaRPr sz="1050"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6515" algn="l">
                        <a:lnSpc>
                          <a:spcPct val="110000"/>
                        </a:lnSpc>
                        <a:spcBef>
                          <a:spcPts val="160"/>
                        </a:spcBef>
                      </a:pPr>
                      <a:r>
                        <a:rPr lang="en-US" sz="1050" spc="-10" dirty="0">
                          <a:latin typeface="Slate Pro" panose="02000506040000020004" pitchFamily="2" charset="0"/>
                          <a:cs typeface="Calibri"/>
                          <a:sym typeface="Slate Pro" panose="02000506040000020004" pitchFamily="2" charset="0"/>
                        </a:rPr>
                        <a:t>Same Commission %</a:t>
                      </a:r>
                      <a:br>
                        <a:rPr lang="en-US" sz="1050" spc="-10" dirty="0">
                          <a:latin typeface="Slate Pro" panose="02000506040000020004" pitchFamily="2" charset="0"/>
                          <a:cs typeface="Calibri"/>
                          <a:sym typeface="Slate Pro" panose="02000506040000020004" pitchFamily="2" charset="0"/>
                        </a:rPr>
                      </a:br>
                      <a:r>
                        <a:rPr lang="en-US" sz="1050" spc="-10" dirty="0">
                          <a:latin typeface="Slate Pro" panose="02000506040000020004" pitchFamily="2" charset="0"/>
                          <a:cs typeface="Calibri"/>
                          <a:sym typeface="Slate Pro" panose="02000506040000020004" pitchFamily="2" charset="0"/>
                        </a:rPr>
                        <a:t>for all Tiers</a:t>
                      </a:r>
                      <a:endParaRPr lang="en-US" sz="105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extLst>
                  <a:ext uri="{0D108BD9-81ED-4DB2-BD59-A6C34878D82A}">
                    <a16:rowId xmlns:a16="http://schemas.microsoft.com/office/drawing/2014/main" val="3683681829"/>
                  </a:ext>
                </a:extLst>
              </a:tr>
              <a:tr h="674677">
                <a:tc>
                  <a:txBody>
                    <a:bodyPr/>
                    <a:lstStyle/>
                    <a:p>
                      <a:pPr marL="50800" algn="l">
                        <a:lnSpc>
                          <a:spcPct val="110000"/>
                        </a:lnSpc>
                      </a:pPr>
                      <a:r>
                        <a:rPr lang="en-US" sz="1050" b="1" baseline="0" dirty="0">
                          <a:latin typeface="Slate Pro" panose="02000506040000020004" pitchFamily="2" charset="0"/>
                          <a:cs typeface="Calibri"/>
                          <a:sym typeface="Slate Pro" panose="02000506040000020004" pitchFamily="2" charset="0"/>
                        </a:rPr>
                        <a:t>ACME’s [Product A] Bonus</a:t>
                      </a:r>
                      <a:endParaRPr sz="1050" b="1"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1435" algn="l">
                        <a:lnSpc>
                          <a:spcPct val="110000"/>
                        </a:lnSpc>
                        <a:spcBef>
                          <a:spcPts val="165"/>
                        </a:spcBef>
                      </a:pPr>
                      <a:r>
                        <a:rPr lang="en-US" sz="1050" dirty="0">
                          <a:latin typeface="Slate Pro" panose="02000506040000020004" pitchFamily="2" charset="0"/>
                          <a:cs typeface="Calibri"/>
                          <a:sym typeface="Slate Pro" panose="02000506040000020004" pitchFamily="2" charset="0"/>
                        </a:rPr>
                        <a:t>Commission</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9690" marR="0" lvl="0" indent="0" algn="l" defTabSz="914400" eaLnBrk="1" fontAlgn="auto" latinLnBrk="0" hangingPunct="1">
                        <a:lnSpc>
                          <a:spcPct val="110000"/>
                        </a:lnSpc>
                        <a:spcBef>
                          <a:spcPts val="165"/>
                        </a:spcBef>
                        <a:spcAft>
                          <a:spcPts val="0"/>
                        </a:spcAft>
                        <a:buClrTx/>
                        <a:buSzTx/>
                        <a:buFontTx/>
                        <a:buNone/>
                        <a:tabLst/>
                        <a:defRPr/>
                      </a:pPr>
                      <a:r>
                        <a:rPr lang="en-US" sz="1050" baseline="0" dirty="0">
                          <a:latin typeface="Slate Pro" panose="02000506040000020004" pitchFamily="2" charset="0"/>
                          <a:cs typeface="Calibri"/>
                          <a:sym typeface="Slate Pro" panose="02000506040000020004" pitchFamily="2" charset="0"/>
                        </a:rPr>
                        <a:t>By</a:t>
                      </a:r>
                      <a:r>
                        <a:rPr lang="en-US" sz="1050" spc="65" baseline="0" dirty="0">
                          <a:latin typeface="Slate Pro" panose="02000506040000020004" pitchFamily="2" charset="0"/>
                          <a:cs typeface="Calibri"/>
                          <a:sym typeface="Slate Pro" panose="02000506040000020004" pitchFamily="2" charset="0"/>
                        </a:rPr>
                        <a:t> </a:t>
                      </a:r>
                      <a:r>
                        <a:rPr lang="en-US" sz="1050" spc="-20" baseline="0" dirty="0">
                          <a:latin typeface="Slate Pro" panose="02000506040000020004" pitchFamily="2" charset="0"/>
                          <a:cs typeface="Calibri"/>
                          <a:sym typeface="Slate Pro" panose="02000506040000020004" pitchFamily="2" charset="0"/>
                        </a:rPr>
                        <a:t>deal</a:t>
                      </a:r>
                      <a:endParaRPr lang="en-US" sz="1050"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vMerge="1">
                  <a:txBody>
                    <a:bodyPr/>
                    <a:lstStyle/>
                    <a:p>
                      <a:pPr marL="67310">
                        <a:lnSpc>
                          <a:spcPct val="100000"/>
                        </a:lnSpc>
                        <a:spcBef>
                          <a:spcPts val="165"/>
                        </a:spcBef>
                      </a:pPr>
                      <a:r>
                        <a:rPr lang="en-US" sz="1050" baseline="0" dirty="0">
                          <a:latin typeface="Proxima Nova Rg" panose="02000506030000020004" pitchFamily="50" charset="0"/>
                          <a:cs typeface="Calibri"/>
                        </a:rPr>
                        <a:t>Net</a:t>
                      </a:r>
                      <a:r>
                        <a:rPr lang="en-US" sz="1050" spc="5" baseline="0" dirty="0">
                          <a:latin typeface="Proxima Nova Rg" panose="02000506030000020004" pitchFamily="50" charset="0"/>
                          <a:cs typeface="Calibri"/>
                        </a:rPr>
                        <a:t> </a:t>
                      </a:r>
                      <a:r>
                        <a:rPr lang="en-US" sz="1050" spc="-20" baseline="0" dirty="0">
                          <a:latin typeface="Proxima Nova Rg" panose="02000506030000020004" pitchFamily="50" charset="0"/>
                          <a:cs typeface="Calibri"/>
                        </a:rPr>
                        <a:t>30</a:t>
                      </a:r>
                      <a:r>
                        <a:rPr lang="en-US" sz="1050" spc="10" baseline="0" dirty="0">
                          <a:latin typeface="Proxima Nova Rg" panose="02000506030000020004" pitchFamily="50" charset="0"/>
                          <a:cs typeface="Calibri"/>
                        </a:rPr>
                        <a:t> </a:t>
                      </a:r>
                      <a:r>
                        <a:rPr lang="en-US" sz="1050" baseline="0" dirty="0">
                          <a:latin typeface="Proxima Nova Rg" panose="02000506030000020004" pitchFamily="50" charset="0"/>
                          <a:cs typeface="Calibri"/>
                        </a:rPr>
                        <a:t>days</a:t>
                      </a:r>
                      <a:r>
                        <a:rPr lang="en-US" sz="1050" spc="10" baseline="0" dirty="0">
                          <a:latin typeface="Proxima Nova Rg" panose="02000506030000020004" pitchFamily="50" charset="0"/>
                          <a:cs typeface="Calibri"/>
                        </a:rPr>
                        <a:t> </a:t>
                      </a:r>
                      <a:r>
                        <a:rPr lang="en-US" sz="1050" spc="-10" baseline="0" dirty="0">
                          <a:latin typeface="Proxima Nova Rg" panose="02000506030000020004" pitchFamily="50" charset="0"/>
                          <a:cs typeface="Calibri"/>
                        </a:rPr>
                        <a:t>after</a:t>
                      </a:r>
                    </a:p>
                    <a:p>
                      <a:pPr marL="67310">
                        <a:lnSpc>
                          <a:spcPts val="860"/>
                        </a:lnSpc>
                      </a:pPr>
                      <a:r>
                        <a:rPr lang="en-US" sz="1050" baseline="0" dirty="0">
                          <a:latin typeface="Proxima Nova Rg" panose="02000506030000020004" pitchFamily="50" charset="0"/>
                          <a:cs typeface="Calibri"/>
                        </a:rPr>
                        <a:t>customer</a:t>
                      </a:r>
                      <a:r>
                        <a:rPr lang="en-US" sz="1050" spc="30" baseline="0" dirty="0">
                          <a:latin typeface="Proxima Nova Rg" panose="02000506030000020004" pitchFamily="50" charset="0"/>
                          <a:cs typeface="Calibri"/>
                        </a:rPr>
                        <a:t> </a:t>
                      </a:r>
                      <a:r>
                        <a:rPr lang="en-US" sz="1050" baseline="0" dirty="0">
                          <a:latin typeface="Proxima Nova Rg" panose="02000506030000020004" pitchFamily="50" charset="0"/>
                          <a:cs typeface="Calibri"/>
                        </a:rPr>
                        <a:t>has</a:t>
                      </a:r>
                      <a:r>
                        <a:rPr lang="en-US" sz="1050" spc="30" baseline="0" dirty="0">
                          <a:latin typeface="Proxima Nova Rg" panose="02000506030000020004" pitchFamily="50" charset="0"/>
                          <a:cs typeface="Calibri"/>
                        </a:rPr>
                        <a:t> </a:t>
                      </a:r>
                      <a:r>
                        <a:rPr lang="en-US" sz="1050" spc="-20" baseline="0" dirty="0">
                          <a:latin typeface="Proxima Nova Rg" panose="02000506030000020004" pitchFamily="50" charset="0"/>
                          <a:cs typeface="Calibri"/>
                        </a:rPr>
                        <a:t>paid</a:t>
                      </a:r>
                    </a:p>
                    <a:p>
                      <a:pPr marL="67310">
                        <a:lnSpc>
                          <a:spcPts val="860"/>
                        </a:lnSpc>
                      </a:pPr>
                      <a:r>
                        <a:rPr lang="en-US" sz="1050" spc="-10" baseline="0" dirty="0">
                          <a:latin typeface="Proxima Nova Rg" panose="02000506030000020004" pitchFamily="50" charset="0"/>
                          <a:cs typeface="Calibri"/>
                        </a:rPr>
                        <a:t>QAD</a:t>
                      </a:r>
                      <a:endParaRPr lang="en-US" sz="1050" baseline="0" dirty="0">
                        <a:latin typeface="Proxima Nova Rg" panose="02000506030000020004" pitchFamily="50" charset="0"/>
                        <a:cs typeface="Calibri"/>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8419" algn="l">
                        <a:lnSpc>
                          <a:spcPct val="110000"/>
                        </a:lnSpc>
                        <a:spcBef>
                          <a:spcPts val="160"/>
                        </a:spcBef>
                      </a:pPr>
                      <a:r>
                        <a:rPr lang="en-US" sz="1050" baseline="0" dirty="0">
                          <a:latin typeface="Slate Pro" panose="02000506040000020004" pitchFamily="2" charset="0"/>
                          <a:cs typeface="Calibri"/>
                          <a:sym typeface="Slate Pro" panose="02000506040000020004" pitchFamily="2" charset="0"/>
                        </a:rPr>
                        <a:t>Applicable to the dollar value, or average ACV, </a:t>
                      </a:r>
                      <a:br>
                        <a:rPr lang="en-US" sz="1050" baseline="0" dirty="0">
                          <a:latin typeface="Slate Pro" panose="02000506040000020004" pitchFamily="2" charset="0"/>
                          <a:cs typeface="Calibri"/>
                          <a:sym typeface="Slate Pro" panose="02000506040000020004" pitchFamily="2" charset="0"/>
                        </a:rPr>
                      </a:br>
                      <a:r>
                        <a:rPr lang="en-US" sz="1050" baseline="0" dirty="0">
                          <a:latin typeface="Slate Pro" panose="02000506040000020004" pitchFamily="2" charset="0"/>
                          <a:cs typeface="Calibri"/>
                          <a:sym typeface="Slate Pro" panose="02000506040000020004" pitchFamily="2" charset="0"/>
                        </a:rPr>
                        <a:t>of ACME’s [Product A] products in a deal.</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6515" marR="0" lvl="0" indent="0" algn="l" defTabSz="914400" eaLnBrk="1" fontAlgn="auto" latinLnBrk="0" hangingPunct="1">
                        <a:lnSpc>
                          <a:spcPct val="110000"/>
                        </a:lnSpc>
                        <a:spcBef>
                          <a:spcPts val="160"/>
                        </a:spcBef>
                        <a:spcAft>
                          <a:spcPts val="0"/>
                        </a:spcAft>
                        <a:buClrTx/>
                        <a:buSzTx/>
                        <a:buFontTx/>
                        <a:buNone/>
                        <a:tabLst/>
                        <a:defRPr/>
                      </a:pPr>
                      <a:r>
                        <a:rPr lang="en-US" sz="1050" spc="-10" baseline="0">
                          <a:latin typeface="Slate Pro" panose="02000506040000020004" pitchFamily="2" charset="0"/>
                          <a:cs typeface="Calibri"/>
                          <a:sym typeface="Slate Pro" panose="02000506040000020004" pitchFamily="2" charset="0"/>
                        </a:rPr>
                        <a:t>By Tier</a:t>
                      </a:r>
                      <a:endParaRPr lang="en-US" sz="1050" baseline="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extLst>
                  <a:ext uri="{0D108BD9-81ED-4DB2-BD59-A6C34878D82A}">
                    <a16:rowId xmlns:a16="http://schemas.microsoft.com/office/drawing/2014/main" val="2838290356"/>
                  </a:ext>
                </a:extLst>
              </a:tr>
              <a:tr h="674677">
                <a:tc>
                  <a:txBody>
                    <a:bodyPr/>
                    <a:lstStyle/>
                    <a:p>
                      <a:pPr marL="50800" algn="l">
                        <a:lnSpc>
                          <a:spcPct val="110000"/>
                        </a:lnSpc>
                        <a:spcBef>
                          <a:spcPts val="165"/>
                        </a:spcBef>
                      </a:pPr>
                      <a:r>
                        <a:rPr lang="en-US" sz="1050" b="1" spc="-10" dirty="0">
                          <a:latin typeface="Slate Pro" panose="02000506040000020004" pitchFamily="2" charset="0"/>
                          <a:cs typeface="Calibri"/>
                          <a:sym typeface="Slate Pro" panose="02000506040000020004" pitchFamily="2" charset="0"/>
                        </a:rPr>
                        <a:t>Referral</a:t>
                      </a:r>
                      <a:endParaRPr sz="1050" b="1"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1435" algn="l">
                        <a:lnSpc>
                          <a:spcPct val="110000"/>
                        </a:lnSpc>
                        <a:spcBef>
                          <a:spcPts val="165"/>
                        </a:spcBef>
                      </a:pPr>
                      <a:r>
                        <a:rPr lang="en-US" sz="1050">
                          <a:latin typeface="Slate Pro" panose="02000506040000020004" pitchFamily="2" charset="0"/>
                          <a:cs typeface="Calibri"/>
                          <a:sym typeface="Slate Pro" panose="02000506040000020004" pitchFamily="2" charset="0"/>
                        </a:rPr>
                        <a:t>Fee</a:t>
                      </a: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9690" marR="0" lvl="0" indent="0" algn="l" defTabSz="914400" eaLnBrk="1" fontAlgn="auto" latinLnBrk="0" hangingPunct="1">
                        <a:lnSpc>
                          <a:spcPct val="110000"/>
                        </a:lnSpc>
                        <a:spcBef>
                          <a:spcPts val="165"/>
                        </a:spcBef>
                        <a:spcAft>
                          <a:spcPts val="0"/>
                        </a:spcAft>
                        <a:buClrTx/>
                        <a:buSzTx/>
                        <a:buFontTx/>
                        <a:buNone/>
                        <a:tabLst/>
                        <a:defRPr/>
                      </a:pPr>
                      <a:r>
                        <a:rPr lang="en-US" sz="1050" baseline="0" dirty="0">
                          <a:latin typeface="Slate Pro" panose="02000506040000020004" pitchFamily="2" charset="0"/>
                          <a:cs typeface="Calibri"/>
                          <a:sym typeface="Slate Pro" panose="02000506040000020004" pitchFamily="2" charset="0"/>
                        </a:rPr>
                        <a:t>By</a:t>
                      </a:r>
                      <a:r>
                        <a:rPr lang="en-US" sz="1050" spc="65" baseline="0" dirty="0">
                          <a:latin typeface="Slate Pro" panose="02000506040000020004" pitchFamily="2" charset="0"/>
                          <a:cs typeface="Calibri"/>
                          <a:sym typeface="Slate Pro" panose="02000506040000020004" pitchFamily="2" charset="0"/>
                        </a:rPr>
                        <a:t> </a:t>
                      </a:r>
                      <a:r>
                        <a:rPr lang="en-US" sz="1050" spc="-20" baseline="0" dirty="0">
                          <a:latin typeface="Slate Pro" panose="02000506040000020004" pitchFamily="2" charset="0"/>
                          <a:cs typeface="Calibri"/>
                          <a:sym typeface="Slate Pro" panose="02000506040000020004" pitchFamily="2" charset="0"/>
                        </a:rPr>
                        <a:t>deal</a:t>
                      </a:r>
                      <a:endParaRPr lang="en-US" sz="1050"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67310" algn="l">
                        <a:lnSpc>
                          <a:spcPct val="110000"/>
                        </a:lnSpc>
                        <a:spcBef>
                          <a:spcPts val="165"/>
                        </a:spcBef>
                      </a:pPr>
                      <a:r>
                        <a:rPr lang="en-US" sz="1050">
                          <a:latin typeface="Slate Pro" panose="02000506040000020004" pitchFamily="2" charset="0"/>
                          <a:cs typeface="Calibri"/>
                          <a:sym typeface="Slate Pro" panose="02000506040000020004" pitchFamily="2" charset="0"/>
                        </a:rPr>
                        <a:t>45 days after the end of the calendar month in which the referral fee is</a:t>
                      </a:r>
                    </a:p>
                    <a:p>
                      <a:pPr marL="67310" algn="l">
                        <a:lnSpc>
                          <a:spcPct val="110000"/>
                        </a:lnSpc>
                        <a:spcBef>
                          <a:spcPts val="165"/>
                        </a:spcBef>
                      </a:pPr>
                      <a:r>
                        <a:rPr lang="en-US" sz="1050">
                          <a:latin typeface="Slate Pro" panose="02000506040000020004" pitchFamily="2" charset="0"/>
                          <a:cs typeface="Calibri"/>
                          <a:sym typeface="Slate Pro" panose="02000506040000020004" pitchFamily="2" charset="0"/>
                        </a:rPr>
                        <a:t>earned</a:t>
                      </a:r>
                      <a:endParaRPr sz="105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8419" algn="l">
                        <a:lnSpc>
                          <a:spcPct val="110000"/>
                        </a:lnSpc>
                        <a:spcBef>
                          <a:spcPts val="160"/>
                        </a:spcBef>
                      </a:pPr>
                      <a:r>
                        <a:rPr sz="1050" dirty="0">
                          <a:latin typeface="Slate Pro" panose="02000506040000020004" pitchFamily="2" charset="0"/>
                          <a:cs typeface="Calibri"/>
                          <a:sym typeface="Slate Pro" panose="02000506040000020004" pitchFamily="2" charset="0"/>
                        </a:rPr>
                        <a:t>Applicable</a:t>
                      </a:r>
                      <a:r>
                        <a:rPr sz="1050" spc="80" dirty="0">
                          <a:latin typeface="Slate Pro" panose="02000506040000020004" pitchFamily="2" charset="0"/>
                          <a:cs typeface="Calibri"/>
                          <a:sym typeface="Slate Pro" panose="02000506040000020004" pitchFamily="2" charset="0"/>
                        </a:rPr>
                        <a:t> </a:t>
                      </a:r>
                      <a:r>
                        <a:rPr sz="1050" dirty="0">
                          <a:latin typeface="Slate Pro" panose="02000506040000020004" pitchFamily="2" charset="0"/>
                          <a:cs typeface="Calibri"/>
                          <a:sym typeface="Slate Pro" panose="02000506040000020004" pitchFamily="2" charset="0"/>
                        </a:rPr>
                        <a:t>f</a:t>
                      </a:r>
                      <a:r>
                        <a:rPr lang="en-US" sz="1050" dirty="0">
                          <a:latin typeface="Slate Pro" panose="02000506040000020004" pitchFamily="2" charset="0"/>
                          <a:cs typeface="Calibri"/>
                          <a:sym typeface="Slate Pro" panose="02000506040000020004" pitchFamily="2" charset="0"/>
                        </a:rPr>
                        <a:t>or opportunities referred to ACME by Partners and those that ACME successfully closes within  180 days of the initial referral.</a:t>
                      </a:r>
                      <a:endParaRPr sz="105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6515" algn="l">
                        <a:lnSpc>
                          <a:spcPct val="110000"/>
                        </a:lnSpc>
                        <a:spcBef>
                          <a:spcPts val="160"/>
                        </a:spcBef>
                      </a:pPr>
                      <a:r>
                        <a:rPr lang="en-US" sz="1050" spc="-10" dirty="0">
                          <a:latin typeface="Slate Pro" panose="02000506040000020004" pitchFamily="2" charset="0"/>
                          <a:cs typeface="Calibri"/>
                          <a:sym typeface="Slate Pro" panose="02000506040000020004" pitchFamily="2" charset="0"/>
                        </a:rPr>
                        <a:t>Flat Fee for all Tiers</a:t>
                      </a:r>
                      <a:endParaRPr sz="105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extLst>
                  <a:ext uri="{0D108BD9-81ED-4DB2-BD59-A6C34878D82A}">
                    <a16:rowId xmlns:a16="http://schemas.microsoft.com/office/drawing/2014/main" val="3601350094"/>
                  </a:ext>
                </a:extLst>
              </a:tr>
              <a:tr h="674677">
                <a:tc>
                  <a:txBody>
                    <a:bodyPr/>
                    <a:lstStyle/>
                    <a:p>
                      <a:pPr marL="55563" indent="0" algn="l">
                        <a:lnSpc>
                          <a:spcPct val="110000"/>
                        </a:lnSpc>
                        <a:spcBef>
                          <a:spcPts val="545"/>
                        </a:spcBef>
                      </a:pPr>
                      <a:r>
                        <a:rPr lang="en-US" sz="1050" b="1" dirty="0">
                          <a:solidFill>
                            <a:schemeClr val="tx1"/>
                          </a:solidFill>
                          <a:latin typeface="Slate Pro" panose="02000506040000020004" pitchFamily="2" charset="0"/>
                          <a:ea typeface="+mn-ea"/>
                          <a:cs typeface="Arial"/>
                          <a:sym typeface="Slate Pro" panose="02000506040000020004" pitchFamily="2" charset="0"/>
                        </a:rPr>
                        <a:t>Distributor Discount (Partner sold </a:t>
                      </a:r>
                      <a:br>
                        <a:rPr lang="en-US" sz="1050" b="1" dirty="0">
                          <a:solidFill>
                            <a:schemeClr val="tx1"/>
                          </a:solidFill>
                          <a:latin typeface="Slate Pro" panose="02000506040000020004" pitchFamily="2" charset="0"/>
                          <a:ea typeface="+mn-ea"/>
                          <a:cs typeface="Arial"/>
                          <a:sym typeface="Slate Pro" panose="02000506040000020004" pitchFamily="2" charset="0"/>
                        </a:rPr>
                      </a:br>
                      <a:r>
                        <a:rPr lang="en-US" sz="1050" b="1" dirty="0">
                          <a:solidFill>
                            <a:schemeClr val="tx1"/>
                          </a:solidFill>
                          <a:latin typeface="Slate Pro" panose="02000506040000020004" pitchFamily="2" charset="0"/>
                          <a:ea typeface="+mn-ea"/>
                          <a:cs typeface="Arial"/>
                          <a:sym typeface="Slate Pro" panose="02000506040000020004" pitchFamily="2" charset="0"/>
                        </a:rPr>
                        <a:t>[Product A])</a:t>
                      </a:r>
                      <a:endParaRPr sz="1050" b="1" dirty="0">
                        <a:solidFill>
                          <a:schemeClr val="tx1"/>
                        </a:solidFill>
                        <a:latin typeface="Slate Pro" panose="02000506040000020004" pitchFamily="2" charset="0"/>
                        <a:ea typeface="+mn-ea"/>
                        <a:cs typeface="Arial"/>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a:solidFill>
                        <a:srgbClr val="878787"/>
                      </a:solidFill>
                      <a:prstDash val="solid"/>
                    </a:lnB>
                  </a:tcPr>
                </a:tc>
                <a:tc>
                  <a:txBody>
                    <a:bodyPr/>
                    <a:lstStyle/>
                    <a:p>
                      <a:pPr marL="51435" algn="l">
                        <a:lnSpc>
                          <a:spcPct val="110000"/>
                        </a:lnSpc>
                        <a:spcBef>
                          <a:spcPts val="165"/>
                        </a:spcBef>
                      </a:pPr>
                      <a:r>
                        <a:rPr lang="en-US" sz="1050" baseline="0">
                          <a:latin typeface="Slate Pro" panose="02000506040000020004" pitchFamily="2" charset="0"/>
                          <a:cs typeface="Calibri"/>
                          <a:sym typeface="Slate Pro" panose="02000506040000020004" pitchFamily="2" charset="0"/>
                        </a:rPr>
                        <a:t>Discount</a:t>
                      </a:r>
                    </a:p>
                  </a:txBody>
                  <a:tcPr marL="45720" marR="45720" anchor="ctr">
                    <a:lnT w="6350" cap="flat" cmpd="sng" algn="ctr">
                      <a:solidFill>
                        <a:srgbClr val="878787"/>
                      </a:solidFill>
                      <a:prstDash val="solid"/>
                      <a:round/>
                      <a:headEnd type="none" w="med" len="med"/>
                      <a:tailEnd type="none" w="med" len="med"/>
                    </a:lnT>
                    <a:lnB w="6350">
                      <a:solidFill>
                        <a:srgbClr val="878787"/>
                      </a:solidFill>
                      <a:prstDash val="solid"/>
                    </a:lnB>
                  </a:tcPr>
                </a:tc>
                <a:tc>
                  <a:txBody>
                    <a:bodyPr/>
                    <a:lstStyle/>
                    <a:p>
                      <a:pPr marL="59690" marR="0" lvl="0" indent="0" algn="l" defTabSz="914400" eaLnBrk="1" fontAlgn="auto" latinLnBrk="0" hangingPunct="1">
                        <a:lnSpc>
                          <a:spcPct val="110000"/>
                        </a:lnSpc>
                        <a:spcBef>
                          <a:spcPts val="165"/>
                        </a:spcBef>
                        <a:spcAft>
                          <a:spcPts val="0"/>
                        </a:spcAft>
                        <a:buClrTx/>
                        <a:buSzTx/>
                        <a:buFontTx/>
                        <a:buNone/>
                        <a:tabLst/>
                        <a:defRPr/>
                      </a:pPr>
                      <a:r>
                        <a:rPr lang="en-US" sz="1050" baseline="0" dirty="0">
                          <a:latin typeface="Slate Pro" panose="02000506040000020004" pitchFamily="2" charset="0"/>
                          <a:cs typeface="Calibri"/>
                          <a:sym typeface="Slate Pro" panose="02000506040000020004" pitchFamily="2" charset="0"/>
                        </a:rPr>
                        <a:t>By</a:t>
                      </a:r>
                      <a:r>
                        <a:rPr lang="en-US" sz="1050" spc="65" baseline="0" dirty="0">
                          <a:latin typeface="Slate Pro" panose="02000506040000020004" pitchFamily="2" charset="0"/>
                          <a:cs typeface="Calibri"/>
                          <a:sym typeface="Slate Pro" panose="02000506040000020004" pitchFamily="2" charset="0"/>
                        </a:rPr>
                        <a:t> </a:t>
                      </a:r>
                      <a:r>
                        <a:rPr lang="en-US" sz="1050" spc="-20" baseline="0" dirty="0">
                          <a:latin typeface="Slate Pro" panose="02000506040000020004" pitchFamily="2" charset="0"/>
                          <a:cs typeface="Calibri"/>
                          <a:sym typeface="Slate Pro" panose="02000506040000020004" pitchFamily="2" charset="0"/>
                        </a:rPr>
                        <a:t>deal</a:t>
                      </a:r>
                      <a:endParaRPr lang="en-US" sz="1050"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a:solidFill>
                        <a:srgbClr val="878787"/>
                      </a:solidFill>
                      <a:prstDash val="solid"/>
                    </a:lnB>
                  </a:tcPr>
                </a:tc>
                <a:tc>
                  <a:txBody>
                    <a:bodyPr/>
                    <a:lstStyle/>
                    <a:p>
                      <a:pPr marL="67310" algn="l">
                        <a:lnSpc>
                          <a:spcPct val="110000"/>
                        </a:lnSpc>
                        <a:spcBef>
                          <a:spcPts val="165"/>
                        </a:spcBef>
                      </a:pPr>
                      <a:r>
                        <a:rPr lang="en-US" sz="1050" baseline="0" dirty="0">
                          <a:latin typeface="Slate Pro" panose="02000506040000020004" pitchFamily="2" charset="0"/>
                          <a:cs typeface="Calibri"/>
                          <a:sym typeface="Slate Pro" panose="02000506040000020004" pitchFamily="2" charset="0"/>
                        </a:rPr>
                        <a:t>Immediate discount</a:t>
                      </a:r>
                    </a:p>
                  </a:txBody>
                  <a:tcPr marL="45720" marR="45720" anchor="ctr">
                    <a:lnT w="6350" cap="flat" cmpd="sng" algn="ctr">
                      <a:solidFill>
                        <a:srgbClr val="878787"/>
                      </a:solidFill>
                      <a:prstDash val="solid"/>
                      <a:round/>
                      <a:headEnd type="none" w="med" len="med"/>
                      <a:tailEnd type="none" w="med" len="med"/>
                    </a:lnT>
                    <a:lnB w="6350">
                      <a:solidFill>
                        <a:srgbClr val="878787"/>
                      </a:solidFill>
                      <a:prstDash val="solid"/>
                    </a:lnB>
                  </a:tcPr>
                </a:tc>
                <a:tc>
                  <a:txBody>
                    <a:bodyPr/>
                    <a:lstStyle/>
                    <a:p>
                      <a:pPr marL="58419" algn="l">
                        <a:lnSpc>
                          <a:spcPct val="110000"/>
                        </a:lnSpc>
                        <a:spcBef>
                          <a:spcPts val="160"/>
                        </a:spcBef>
                      </a:pPr>
                      <a:r>
                        <a:rPr lang="en-US" sz="1050" baseline="0" dirty="0">
                          <a:latin typeface="Slate Pro" panose="02000506040000020004" pitchFamily="2" charset="0"/>
                          <a:cs typeface="Calibri"/>
                          <a:sym typeface="Slate Pro" panose="02000506040000020004" pitchFamily="2" charset="0"/>
                        </a:rPr>
                        <a:t>Discount available only to distributors selling ACME [Product A] products that the distributor then hosts.</a:t>
                      </a:r>
                      <a:endParaRPr sz="1050"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tc>
                  <a:txBody>
                    <a:bodyPr/>
                    <a:lstStyle/>
                    <a:p>
                      <a:pPr marL="56515" marR="0" lvl="0" indent="0" algn="l" defTabSz="914400" eaLnBrk="1" fontAlgn="auto" latinLnBrk="0" hangingPunct="1">
                        <a:lnSpc>
                          <a:spcPct val="110000"/>
                        </a:lnSpc>
                        <a:spcBef>
                          <a:spcPts val="160"/>
                        </a:spcBef>
                        <a:spcAft>
                          <a:spcPts val="0"/>
                        </a:spcAft>
                        <a:buClrTx/>
                        <a:buSzTx/>
                        <a:buFontTx/>
                        <a:buNone/>
                        <a:tabLst/>
                        <a:defRPr/>
                      </a:pPr>
                      <a:r>
                        <a:rPr lang="en-US" sz="1050" spc="-10" baseline="0" dirty="0">
                          <a:latin typeface="Slate Pro" panose="02000506040000020004" pitchFamily="2" charset="0"/>
                          <a:cs typeface="Calibri"/>
                          <a:sym typeface="Slate Pro" panose="02000506040000020004" pitchFamily="2" charset="0"/>
                        </a:rPr>
                        <a:t>By Tier</a:t>
                      </a:r>
                      <a:endParaRPr lang="en-US" sz="1050" baseline="0" dirty="0">
                        <a:latin typeface="Slate Pro" panose="02000506040000020004" pitchFamily="2" charset="0"/>
                        <a:cs typeface="Calibri"/>
                        <a:sym typeface="Slate Pro" panose="02000506040000020004" pitchFamily="2" charset="0"/>
                      </a:endParaRPr>
                    </a:p>
                  </a:txBody>
                  <a:tcPr marL="45720" marR="45720" anchor="ctr">
                    <a:lnT w="6350" cap="flat" cmpd="sng" algn="ctr">
                      <a:solidFill>
                        <a:srgbClr val="878787"/>
                      </a:solidFill>
                      <a:prstDash val="solid"/>
                      <a:round/>
                      <a:headEnd type="none" w="med" len="med"/>
                      <a:tailEnd type="none" w="med" len="med"/>
                    </a:lnT>
                    <a:lnB w="6350" cap="flat" cmpd="sng" algn="ctr">
                      <a:solidFill>
                        <a:srgbClr val="878787"/>
                      </a:solidFill>
                      <a:prstDash val="solid"/>
                      <a:round/>
                      <a:headEnd type="none" w="med" len="med"/>
                      <a:tailEnd type="none" w="med" len="med"/>
                    </a:lnB>
                  </a:tcPr>
                </a:tc>
                <a:extLst>
                  <a:ext uri="{0D108BD9-81ED-4DB2-BD59-A6C34878D82A}">
                    <a16:rowId xmlns:a16="http://schemas.microsoft.com/office/drawing/2014/main" val="3991850825"/>
                  </a:ext>
                </a:extLst>
              </a:tr>
            </a:tbl>
          </a:graphicData>
        </a:graphic>
      </p:graphicFrame>
      <p:sp>
        <p:nvSpPr>
          <p:cNvPr id="7" name="TextBox 6">
            <a:extLst>
              <a:ext uri="{FF2B5EF4-FFF2-40B4-BE49-F238E27FC236}">
                <a16:creationId xmlns:a16="http://schemas.microsoft.com/office/drawing/2014/main" id="{0A0F5188-0F0C-2CF8-D0DB-783FFD43E107}"/>
              </a:ext>
            </a:extLst>
          </p:cNvPr>
          <p:cNvSpPr txBox="1"/>
          <p:nvPr/>
        </p:nvSpPr>
        <p:spPr>
          <a:xfrm>
            <a:off x="474667" y="1026681"/>
            <a:ext cx="9687551" cy="276999"/>
          </a:xfrm>
          <a:prstGeom prst="rect">
            <a:avLst/>
          </a:prstGeom>
          <a:noFill/>
        </p:spPr>
        <p:txBody>
          <a:bodyPr wrap="square">
            <a:spAutoFit/>
          </a:bodyPr>
          <a:lstStyle/>
          <a:p>
            <a:pPr algn="l"/>
            <a:r>
              <a:rPr lang="en-US" sz="1200" dirty="0">
                <a:latin typeface="Slate Pro" panose="02000506040000020004" pitchFamily="2" charset="0"/>
                <a:sym typeface="Slate Pro" panose="02000506040000020004" pitchFamily="2" charset="0"/>
              </a:rPr>
              <a:t>To better understand what is required to earn the different sales incentives ACME offers, please reference the table below.</a:t>
            </a:r>
          </a:p>
        </p:txBody>
      </p:sp>
      <p:grpSp>
        <p:nvGrpSpPr>
          <p:cNvPr id="12" name="Group 11">
            <a:extLst>
              <a:ext uri="{FF2B5EF4-FFF2-40B4-BE49-F238E27FC236}">
                <a16:creationId xmlns:a16="http://schemas.microsoft.com/office/drawing/2014/main" id="{FF60182C-8E1B-1F10-3106-EEC565871EC6}"/>
              </a:ext>
            </a:extLst>
          </p:cNvPr>
          <p:cNvGrpSpPr/>
          <p:nvPr/>
        </p:nvGrpSpPr>
        <p:grpSpPr>
          <a:xfrm>
            <a:off x="157427" y="7205390"/>
            <a:ext cx="2416310" cy="276999"/>
            <a:chOff x="157428" y="7205390"/>
            <a:chExt cx="2132373" cy="276999"/>
          </a:xfrm>
        </p:grpSpPr>
        <p:sp>
          <p:nvSpPr>
            <p:cNvPr id="14" name="TextBox 13">
              <a:hlinkClick r:id="rId6" action="ppaction://hlinksldjump"/>
              <a:extLst>
                <a:ext uri="{FF2B5EF4-FFF2-40B4-BE49-F238E27FC236}">
                  <a16:creationId xmlns:a16="http://schemas.microsoft.com/office/drawing/2014/main" id="{C2E58E29-D268-B32A-F306-AF312BE283B5}"/>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5" name="Arrow: Right 14">
              <a:extLst>
                <a:ext uri="{FF2B5EF4-FFF2-40B4-BE49-F238E27FC236}">
                  <a16:creationId xmlns:a16="http://schemas.microsoft.com/office/drawing/2014/main" id="{8002C2CB-6B02-A547-9CFC-136E6B044028}"/>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2382544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532ECB-2F4B-6585-65FA-A402E2B55E11}"/>
              </a:ext>
            </a:extLst>
          </p:cNvPr>
          <p:cNvGraphicFramePr>
            <a:graphicFrameLocks noChangeAspect="1"/>
          </p:cNvGraphicFramePr>
          <p:nvPr>
            <p:custDataLst>
              <p:tags r:id="rId1"/>
            </p:custDataLst>
            <p:extLst>
              <p:ext uri="{D42A27DB-BD31-4B8C-83A1-F6EECF244321}">
                <p14:modId xmlns:p14="http://schemas.microsoft.com/office/powerpoint/2010/main" val="346535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Object 10" hidden="1">
                        <a:extLst>
                          <a:ext uri="{FF2B5EF4-FFF2-40B4-BE49-F238E27FC236}">
                            <a16:creationId xmlns:a16="http://schemas.microsoft.com/office/drawing/2014/main" id="{8E532ECB-2F4B-6585-65FA-A402E2B55E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object 2"/>
          <p:cNvGraphicFramePr>
            <a:graphicFrameLocks noGrp="1"/>
          </p:cNvGraphicFramePr>
          <p:nvPr>
            <p:extLst>
              <p:ext uri="{D42A27DB-BD31-4B8C-83A1-F6EECF244321}">
                <p14:modId xmlns:p14="http://schemas.microsoft.com/office/powerpoint/2010/main" val="3436009156"/>
              </p:ext>
            </p:extLst>
          </p:nvPr>
        </p:nvGraphicFramePr>
        <p:xfrm>
          <a:off x="530998" y="1580388"/>
          <a:ext cx="9425612" cy="2160016"/>
        </p:xfrm>
        <a:graphic>
          <a:graphicData uri="http://schemas.openxmlformats.org/drawingml/2006/table">
            <a:tbl>
              <a:tblPr firstRow="1" bandRow="1">
                <a:tableStyleId>{2D5ABB26-0587-4C30-8999-92F81FD0307C}</a:tableStyleId>
              </a:tblPr>
              <a:tblGrid>
                <a:gridCol w="5082115">
                  <a:extLst>
                    <a:ext uri="{9D8B030D-6E8A-4147-A177-3AD203B41FA5}">
                      <a16:colId xmlns:a16="http://schemas.microsoft.com/office/drawing/2014/main" val="20000"/>
                    </a:ext>
                  </a:extLst>
                </a:gridCol>
                <a:gridCol w="1081273">
                  <a:extLst>
                    <a:ext uri="{9D8B030D-6E8A-4147-A177-3AD203B41FA5}">
                      <a16:colId xmlns:a16="http://schemas.microsoft.com/office/drawing/2014/main" val="20002"/>
                    </a:ext>
                  </a:extLst>
                </a:gridCol>
                <a:gridCol w="1088254">
                  <a:extLst>
                    <a:ext uri="{9D8B030D-6E8A-4147-A177-3AD203B41FA5}">
                      <a16:colId xmlns:a16="http://schemas.microsoft.com/office/drawing/2014/main" val="20003"/>
                    </a:ext>
                  </a:extLst>
                </a:gridCol>
                <a:gridCol w="1086985">
                  <a:extLst>
                    <a:ext uri="{9D8B030D-6E8A-4147-A177-3AD203B41FA5}">
                      <a16:colId xmlns:a16="http://schemas.microsoft.com/office/drawing/2014/main" val="20004"/>
                    </a:ext>
                  </a:extLst>
                </a:gridCol>
                <a:gridCol w="1086985">
                  <a:extLst>
                    <a:ext uri="{9D8B030D-6E8A-4147-A177-3AD203B41FA5}">
                      <a16:colId xmlns:a16="http://schemas.microsoft.com/office/drawing/2014/main" val="1520367027"/>
                    </a:ext>
                  </a:extLst>
                </a:gridCol>
              </a:tblGrid>
              <a:tr h="246888">
                <a:tc>
                  <a:txBody>
                    <a:bodyPr/>
                    <a:lstStyle/>
                    <a:p>
                      <a:pPr>
                        <a:lnSpc>
                          <a:spcPts val="1015"/>
                        </a:lnSpc>
                      </a:pPr>
                      <a:r>
                        <a:rPr sz="1400" b="1" spc="-40" dirty="0">
                          <a:latin typeface="Slate Pro" panose="02000506040000020004" pitchFamily="2" charset="0"/>
                          <a:cs typeface="Arial"/>
                          <a:sym typeface="Slate Pro" panose="02000506040000020004" pitchFamily="2" charset="0"/>
                        </a:rPr>
                        <a:t>Individual</a:t>
                      </a:r>
                      <a:r>
                        <a:rPr sz="1400" b="1" spc="-50" dirty="0">
                          <a:latin typeface="Slate Pro" panose="02000506040000020004" pitchFamily="2" charset="0"/>
                          <a:cs typeface="Arial"/>
                          <a:sym typeface="Slate Pro" panose="02000506040000020004" pitchFamily="2" charset="0"/>
                        </a:rPr>
                        <a:t> </a:t>
                      </a:r>
                      <a:r>
                        <a:rPr sz="1400" b="1" spc="-40" dirty="0">
                          <a:latin typeface="Slate Pro" panose="02000506040000020004" pitchFamily="2" charset="0"/>
                          <a:cs typeface="Arial"/>
                          <a:sym typeface="Slate Pro" panose="02000506040000020004" pitchFamily="2" charset="0"/>
                        </a:rPr>
                        <a:t>Sale</a:t>
                      </a:r>
                      <a:r>
                        <a:rPr sz="1400" b="1" spc="-45" dirty="0">
                          <a:latin typeface="Slate Pro" panose="02000506040000020004" pitchFamily="2" charset="0"/>
                          <a:cs typeface="Arial"/>
                          <a:sym typeface="Slate Pro" panose="02000506040000020004" pitchFamily="2" charset="0"/>
                        </a:rPr>
                        <a:t> </a:t>
                      </a:r>
                      <a:r>
                        <a:rPr sz="1400" b="1" spc="-10" dirty="0">
                          <a:latin typeface="Slate Pro" panose="02000506040000020004" pitchFamily="2" charset="0"/>
                          <a:cs typeface="Arial"/>
                          <a:sym typeface="Slate Pro" panose="02000506040000020004" pitchFamily="2" charset="0"/>
                        </a:rPr>
                        <a:t>Example</a:t>
                      </a:r>
                      <a:r>
                        <a:rPr lang="en-US" sz="1400" b="1" spc="-10" dirty="0">
                          <a:latin typeface="Slate Pro" panose="02000506040000020004" pitchFamily="2" charset="0"/>
                          <a:cs typeface="Arial"/>
                          <a:sym typeface="Slate Pro" panose="02000506040000020004" pitchFamily="2" charset="0"/>
                        </a:rPr>
                        <a:t> ( Reseller)</a:t>
                      </a:r>
                      <a:endParaRPr sz="1400" dirty="0">
                        <a:latin typeface="Slate Pro" panose="02000506040000020004" pitchFamily="2" charset="0"/>
                        <a:cs typeface="Arial"/>
                        <a:sym typeface="Slate Pro" panose="02000506040000020004" pitchFamily="2" charset="0"/>
                      </a:endParaRPr>
                    </a:p>
                  </a:txBody>
                  <a:tcPr marL="0" marR="0" marT="0" marB="0">
                    <a:lnB w="28575">
                      <a:solidFill>
                        <a:srgbClr val="878787"/>
                      </a:solidFill>
                      <a:prstDash val="solid"/>
                    </a:lnB>
                  </a:tcPr>
                </a:tc>
                <a:tc>
                  <a:txBody>
                    <a:bodyPr/>
                    <a:lstStyle/>
                    <a:p>
                      <a:pPr algn="ctr">
                        <a:lnSpc>
                          <a:spcPts val="1015"/>
                        </a:lnSpc>
                      </a:pPr>
                      <a:r>
                        <a:rPr sz="1200" b="1" spc="-20">
                          <a:solidFill>
                            <a:schemeClr val="bg1"/>
                          </a:solidFill>
                          <a:latin typeface="Slate Pro" panose="02000506040000020004" pitchFamily="2" charset="0"/>
                          <a:cs typeface="Arial"/>
                          <a:sym typeface="Slate Pro" panose="02000506040000020004" pitchFamily="2" charset="0"/>
                        </a:rPr>
                        <a:t>Gold</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F8B737"/>
                    </a:solidFill>
                  </a:tcPr>
                </a:tc>
                <a:tc>
                  <a:txBody>
                    <a:bodyPr/>
                    <a:lstStyle/>
                    <a:p>
                      <a:pPr marL="1270" algn="ctr">
                        <a:lnSpc>
                          <a:spcPts val="1015"/>
                        </a:lnSpc>
                      </a:pPr>
                      <a:r>
                        <a:rPr sz="1200" b="1" spc="-10" dirty="0">
                          <a:solidFill>
                            <a:schemeClr val="bg1"/>
                          </a:solidFill>
                          <a:latin typeface="Slate Pro" panose="02000506040000020004" pitchFamily="2" charset="0"/>
                          <a:cs typeface="Arial"/>
                          <a:sym typeface="Slate Pro" panose="02000506040000020004" pitchFamily="2" charset="0"/>
                        </a:rPr>
                        <a:t>Silver</a:t>
                      </a:r>
                      <a:endParaRPr sz="1200" dirty="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a:solidFill>
                        <a:srgbClr val="878787"/>
                      </a:solidFill>
                      <a:prstDash val="solid"/>
                    </a:lnB>
                    <a:solidFill>
                      <a:srgbClr val="AFABAB"/>
                    </a:solidFill>
                  </a:tcPr>
                </a:tc>
                <a:tc>
                  <a:txBody>
                    <a:bodyPr/>
                    <a:lstStyle/>
                    <a:p>
                      <a:pPr algn="ctr">
                        <a:lnSpc>
                          <a:spcPts val="1015"/>
                        </a:lnSpc>
                      </a:pPr>
                      <a:r>
                        <a:rPr sz="1200" b="1" spc="-20">
                          <a:solidFill>
                            <a:schemeClr val="bg1"/>
                          </a:solidFill>
                          <a:latin typeface="Slate Pro" panose="02000506040000020004" pitchFamily="2" charset="0"/>
                          <a:cs typeface="Arial"/>
                          <a:sym typeface="Slate Pro" panose="02000506040000020004" pitchFamily="2" charset="0"/>
                        </a:rPr>
                        <a:t>Gold</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a:solidFill>
                        <a:srgbClr val="878787"/>
                      </a:solidFill>
                      <a:prstDash val="solid"/>
                    </a:lnB>
                    <a:solidFill>
                      <a:srgbClr val="F8B737"/>
                    </a:solidFill>
                  </a:tcPr>
                </a:tc>
                <a:tc>
                  <a:txBody>
                    <a:bodyPr/>
                    <a:lstStyle/>
                    <a:p>
                      <a:pPr marL="1270" algn="ctr">
                        <a:lnSpc>
                          <a:spcPts val="1015"/>
                        </a:lnSpc>
                      </a:pPr>
                      <a:r>
                        <a:rPr sz="1200" b="1" spc="-10">
                          <a:solidFill>
                            <a:schemeClr val="bg1"/>
                          </a:solidFill>
                          <a:latin typeface="Slate Pro" panose="02000506040000020004" pitchFamily="2" charset="0"/>
                          <a:cs typeface="Arial"/>
                          <a:sym typeface="Slate Pro" panose="02000506040000020004" pitchFamily="2" charset="0"/>
                        </a:rPr>
                        <a:t>Silver</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AFABAB"/>
                    </a:solidFill>
                  </a:tcPr>
                </a:tc>
                <a:extLst>
                  <a:ext uri="{0D108BD9-81ED-4DB2-BD59-A6C34878D82A}">
                    <a16:rowId xmlns:a16="http://schemas.microsoft.com/office/drawing/2014/main" val="10000"/>
                  </a:ext>
                </a:extLst>
              </a:tr>
              <a:tr h="271138">
                <a:tc>
                  <a:txBody>
                    <a:bodyPr/>
                    <a:lstStyle/>
                    <a:p>
                      <a:pPr marL="71755">
                        <a:lnSpc>
                          <a:spcPct val="100000"/>
                        </a:lnSpc>
                        <a:spcBef>
                          <a:spcPts val="680"/>
                        </a:spcBef>
                      </a:pPr>
                      <a:r>
                        <a:rPr lang="en-US" sz="1050" spc="0" baseline="0" dirty="0">
                          <a:latin typeface="Slate Pro" panose="02000506040000020004" pitchFamily="2" charset="0"/>
                          <a:cs typeface="Arial"/>
                          <a:sym typeface="Slate Pro" panose="02000506040000020004" pitchFamily="2" charset="0"/>
                        </a:rPr>
                        <a:t>Deal Size – average ACV </a:t>
                      </a:r>
                      <a:r>
                        <a:rPr sz="1050" spc="0" baseline="0" dirty="0">
                          <a:latin typeface="Slate Pro" panose="02000506040000020004" pitchFamily="2" charset="0"/>
                          <a:cs typeface="Arial"/>
                          <a:sym typeface="Slate Pro" panose="02000506040000020004" pitchFamily="2" charset="0"/>
                        </a:rPr>
                        <a:t>(USD)</a:t>
                      </a:r>
                    </a:p>
                  </a:txBody>
                  <a:tcPr marL="0" marR="0" marT="86360" marB="0">
                    <a:lnT w="28575">
                      <a:solidFill>
                        <a:srgbClr val="878787"/>
                      </a:solidFill>
                      <a:prstDash val="soli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lang="en-US" sz="1050" spc="-10">
                          <a:latin typeface="Slate Pro" panose="02000506040000020004" pitchFamily="2" charset="0"/>
                          <a:cs typeface="Arial"/>
                          <a:sym typeface="Slate Pro" panose="02000506040000020004" pitchFamily="2" charset="0"/>
                        </a:rPr>
                        <a:t>$100,000</a:t>
                      </a:r>
                      <a:endParaRPr lang="en-US" sz="1050">
                        <a:latin typeface="Slate Pro" panose="02000506040000020004" pitchFamily="2" charset="0"/>
                        <a:cs typeface="Arial"/>
                        <a:sym typeface="Slate Pro" panose="02000506040000020004" pitchFamily="2" charset="0"/>
                      </a:endParaRPr>
                    </a:p>
                  </a:txBody>
                  <a:tcPr marL="0" marR="0" marT="86360" marB="0">
                    <a:lnT w="28575">
                      <a:solidFill>
                        <a:srgbClr val="878787"/>
                      </a:solidFill>
                      <a:prstDash val="soli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lang="en-US" sz="1050" spc="-10">
                          <a:latin typeface="Slate Pro" panose="02000506040000020004" pitchFamily="2" charset="0"/>
                          <a:cs typeface="Arial"/>
                          <a:sym typeface="Slate Pro" panose="02000506040000020004" pitchFamily="2" charset="0"/>
                        </a:rPr>
                        <a:t>$100,000</a:t>
                      </a:r>
                      <a:endParaRPr lang="en-US"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lang="en-US" sz="1050" spc="-10">
                          <a:latin typeface="Slate Pro" panose="02000506040000020004" pitchFamily="2" charset="0"/>
                          <a:cs typeface="Arial"/>
                          <a:sym typeface="Slate Pro" panose="02000506040000020004" pitchFamily="2" charset="0"/>
                        </a:rPr>
                        <a:t>$100,000</a:t>
                      </a:r>
                      <a:endParaRPr lang="en-US"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1"/>
                  </a:ext>
                </a:extLst>
              </a:tr>
              <a:tr h="278719">
                <a:tc>
                  <a:txBody>
                    <a:bodyPr/>
                    <a:lstStyle/>
                    <a:p>
                      <a:pPr marL="71120">
                        <a:lnSpc>
                          <a:spcPct val="100000"/>
                        </a:lnSpc>
                        <a:spcBef>
                          <a:spcPts val="635"/>
                        </a:spcBef>
                      </a:pPr>
                      <a:r>
                        <a:rPr lang="en-US" sz="1050" spc="0" baseline="0" dirty="0">
                          <a:latin typeface="Slate Pro" panose="02000506040000020004" pitchFamily="2" charset="0"/>
                          <a:cs typeface="Arial"/>
                          <a:sym typeface="Slate Pro" panose="02000506040000020004" pitchFamily="2" charset="0"/>
                        </a:rPr>
                        <a:t>ACME [Product A] Dollars (USD)</a:t>
                      </a:r>
                      <a:endParaRPr sz="1050" spc="0" baseline="0" dirty="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50,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50,000 </a:t>
                      </a:r>
                    </a:p>
                  </a:txBody>
                  <a:tcPr marL="0" marR="0" marT="0"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50,000 </a:t>
                      </a:r>
                    </a:p>
                  </a:txBody>
                  <a:tcPr marL="0" marR="0" marT="0"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50,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454631732"/>
                  </a:ext>
                </a:extLst>
              </a:tr>
              <a:tr h="278719">
                <a:tc>
                  <a:txBody>
                    <a:bodyPr/>
                    <a:lstStyle/>
                    <a:p>
                      <a:pPr marL="71120">
                        <a:lnSpc>
                          <a:spcPct val="100000"/>
                        </a:lnSpc>
                        <a:spcBef>
                          <a:spcPts val="635"/>
                        </a:spcBef>
                      </a:pPr>
                      <a:r>
                        <a:rPr lang="en-US" sz="1050" spc="0" baseline="0">
                          <a:latin typeface="Slate Pro" panose="02000506040000020004" pitchFamily="2" charset="0"/>
                          <a:cs typeface="Arial"/>
                          <a:sym typeface="Slate Pro" panose="02000506040000020004" pitchFamily="2" charset="0"/>
                        </a:rPr>
                        <a:t>Deal Registration</a:t>
                      </a:r>
                      <a:endParaRPr sz="1050" spc="0" baseline="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a:solidFill>
                        <a:srgbClr val="868A8C"/>
                      </a:solidFill>
                      <a:prstDash val="soli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a:solidFill>
                        <a:srgbClr val="868A8C"/>
                      </a:solidFill>
                      <a:prstDash val="solid"/>
                    </a:lnT>
                    <a:lnB w="6350">
                      <a:solidFill>
                        <a:srgbClr val="868A8C"/>
                      </a:solidFill>
                      <a:prstDash val="soli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2"/>
                  </a:ext>
                </a:extLst>
              </a:tr>
              <a:tr h="271138">
                <a:tc>
                  <a:txBody>
                    <a:bodyPr/>
                    <a:lstStyle/>
                    <a:p>
                      <a:pPr marL="71120">
                        <a:lnSpc>
                          <a:spcPct val="100000"/>
                        </a:lnSpc>
                        <a:spcBef>
                          <a:spcPts val="635"/>
                        </a:spcBef>
                      </a:pPr>
                      <a:r>
                        <a:rPr lang="en-US" sz="1050" spc="0" baseline="0" dirty="0">
                          <a:latin typeface="Slate Pro" panose="02000506040000020004" pitchFamily="2" charset="0"/>
                          <a:cs typeface="Arial"/>
                          <a:sym typeface="Slate Pro" panose="02000506040000020004" pitchFamily="2" charset="0"/>
                        </a:rPr>
                        <a:t>Partner Full Cycle: Find to Close</a:t>
                      </a:r>
                      <a:endParaRPr sz="1050" spc="0" baseline="0" dirty="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Slate Pro" panose="02000506040000020004" pitchFamily="2" charset="0"/>
                          <a:sym typeface="Slate Pro" panose="02000506040000020004" pitchFamily="2" charset="0"/>
                        </a:rPr>
                        <a:t>$16,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3,000 </a:t>
                      </a:r>
                    </a:p>
                  </a:txBody>
                  <a:tcPr marL="0" marR="0" marT="0"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6,000 </a:t>
                      </a:r>
                    </a:p>
                  </a:txBody>
                  <a:tcPr marL="0" marR="0" marT="0" marB="0" anchor="ctr">
                    <a:lnT w="6350">
                      <a:solidFill>
                        <a:srgbClr val="868A8C"/>
                      </a:solidFill>
                      <a:prstDash val="soli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3,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3469284772"/>
                  </a:ext>
                </a:extLst>
              </a:tr>
              <a:tr h="271138">
                <a:tc>
                  <a:txBody>
                    <a:bodyPr/>
                    <a:lstStyle/>
                    <a:p>
                      <a:pPr marL="55563" indent="0" algn="l">
                        <a:lnSpc>
                          <a:spcPct val="100000"/>
                        </a:lnSpc>
                        <a:spcBef>
                          <a:spcPts val="545"/>
                        </a:spcBef>
                      </a:pPr>
                      <a:r>
                        <a:rPr lang="en-US" sz="1050" b="0" spc="0" baseline="0">
                          <a:solidFill>
                            <a:schemeClr val="tx1"/>
                          </a:solidFill>
                          <a:latin typeface="Slate Pro" panose="02000506040000020004" pitchFamily="2" charset="0"/>
                          <a:cs typeface="Arial"/>
                          <a:sym typeface="Slate Pro" panose="02000506040000020004" pitchFamily="2" charset="0"/>
                        </a:rPr>
                        <a:t>Technical Pre-Sales Assistance</a:t>
                      </a:r>
                    </a:p>
                  </a:txBody>
                  <a:tcPr marL="0" marR="0" marT="78740" marB="0">
                    <a:lnT w="6350">
                      <a:solidFill>
                        <a:srgbClr val="868A8C"/>
                      </a:solidFill>
                      <a:prstDash val="solid"/>
                    </a:lnT>
                    <a:lnB w="6350">
                      <a:solidFill>
                        <a:srgbClr val="868A8C"/>
                      </a:solidFill>
                      <a:prstDash val="soli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a:solidFill>
                        <a:srgbClr val="868A8C"/>
                      </a:solidFill>
                      <a:prstDash val="solid"/>
                    </a:lnT>
                    <a:lnB w="6350">
                      <a:solidFill>
                        <a:srgbClr val="868A8C"/>
                      </a:solidFill>
                      <a:prstDash val="soli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3,000 </a:t>
                      </a:r>
                    </a:p>
                  </a:txBody>
                  <a:tcPr marL="0" marR="0" marT="0" marB="0" anchor="ct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3"/>
                  </a:ext>
                </a:extLst>
              </a:tr>
              <a:tr h="271138">
                <a:tc>
                  <a:txBody>
                    <a:bodyPr/>
                    <a:lstStyle/>
                    <a:p>
                      <a:pPr marL="71120">
                        <a:lnSpc>
                          <a:spcPct val="100000"/>
                        </a:lnSpc>
                        <a:spcBef>
                          <a:spcPts val="620"/>
                        </a:spcBef>
                      </a:pPr>
                      <a:r>
                        <a:rPr lang="en-US" sz="1050" spc="0" baseline="0" dirty="0">
                          <a:latin typeface="Slate Pro" panose="02000506040000020004" pitchFamily="2" charset="0"/>
                          <a:cs typeface="Arial"/>
                          <a:sym typeface="Slate Pro" panose="02000506040000020004" pitchFamily="2" charset="0"/>
                        </a:rPr>
                        <a:t>ACME [Product] A Bonus</a:t>
                      </a:r>
                      <a:endParaRPr sz="1050" spc="0" baseline="0" dirty="0">
                        <a:latin typeface="Slate Pro" panose="02000506040000020004" pitchFamily="2" charset="0"/>
                        <a:cs typeface="Arial"/>
                        <a:sym typeface="Slate Pro" panose="02000506040000020004" pitchFamily="2" charset="0"/>
                      </a:endParaRPr>
                    </a:p>
                  </a:txBody>
                  <a:tcPr marL="0" marR="0" marT="78740" marB="0">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500</a:t>
                      </a:r>
                    </a:p>
                  </a:txBody>
                  <a:tcPr marL="0" marR="0" marT="0" marB="0" anchor="ctr">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500 </a:t>
                      </a:r>
                    </a:p>
                  </a:txBody>
                  <a:tcPr marL="0" marR="0" marT="0" marB="0" anchor="ctr">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500</a:t>
                      </a:r>
                    </a:p>
                  </a:txBody>
                  <a:tcPr marL="0" marR="0" marT="0" marB="0" anchor="ctr">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1,500 </a:t>
                      </a:r>
                    </a:p>
                  </a:txBody>
                  <a:tcPr marL="0" marR="0" marT="0" marB="0" anchor="ctr">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71138">
                <a:tc>
                  <a:txBody>
                    <a:bodyPr/>
                    <a:lstStyle/>
                    <a:p>
                      <a:pPr marL="71755">
                        <a:lnSpc>
                          <a:spcPct val="100000"/>
                        </a:lnSpc>
                        <a:spcBef>
                          <a:spcPts val="655"/>
                        </a:spcBef>
                      </a:pPr>
                      <a:r>
                        <a:rPr lang="en-US" sz="1400" b="1" spc="-20" dirty="0">
                          <a:solidFill>
                            <a:srgbClr val="00B050"/>
                          </a:solidFill>
                          <a:latin typeface="Slate Pro" panose="02000506040000020004" pitchFamily="2" charset="0"/>
                          <a:cs typeface="Arial"/>
                          <a:sym typeface="Slate Pro" panose="02000506040000020004" pitchFamily="2" charset="0"/>
                        </a:rPr>
                        <a:t>Your Payout (Year 1)</a:t>
                      </a:r>
                      <a:endParaRPr sz="1400" b="1" dirty="0">
                        <a:solidFill>
                          <a:srgbClr val="00B050"/>
                        </a:solidFill>
                        <a:latin typeface="Slate Pro" panose="02000506040000020004" pitchFamily="2" charset="0"/>
                        <a:cs typeface="Arial"/>
                        <a:sym typeface="Slate Pro" panose="02000506040000020004" pitchFamily="2" charset="0"/>
                      </a:endParaRPr>
                    </a:p>
                  </a:txBody>
                  <a:tcPr marL="0" marR="0" marT="0" marB="0" anchor="ctr">
                    <a:lnT w="9525" cap="flat" cmpd="sng" algn="ctr">
                      <a:solidFill>
                        <a:schemeClr val="bg1">
                          <a:lumMod val="75000"/>
                        </a:schemeClr>
                      </a:solidFill>
                      <a:prstDash val="solid"/>
                      <a:round/>
                      <a:headEnd type="none" w="med" len="med"/>
                      <a:tailEnd type="none" w="med" len="med"/>
                    </a:lnT>
                    <a:lnB w="6350">
                      <a:solidFill>
                        <a:srgbClr val="868A8C"/>
                      </a:solidFill>
                      <a:prstDash val="soli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23,500 </a:t>
                      </a:r>
                    </a:p>
                  </a:txBody>
                  <a:tcPr marL="0" marR="0" marT="0" marB="0" anchor="ctr">
                    <a:lnT w="9525" cap="flat" cmpd="sng" algn="ctr">
                      <a:solidFill>
                        <a:schemeClr val="bg1">
                          <a:lumMod val="75000"/>
                        </a:schemeClr>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20,500 </a:t>
                      </a:r>
                    </a:p>
                  </a:txBody>
                  <a:tcPr marL="0" marR="0" marT="0" marB="0" anchor="ctr">
                    <a:lnT w="9525" cap="flat" cmpd="sng" algn="ctr">
                      <a:solidFill>
                        <a:schemeClr val="bg1">
                          <a:lumMod val="75000"/>
                        </a:schemeClr>
                      </a:solidFill>
                      <a:prstDash val="solid"/>
                      <a:round/>
                      <a:headEnd type="none" w="med" len="med"/>
                      <a:tailEnd type="none" w="med" len="med"/>
                    </a:lnT>
                    <a:lnB w="6350">
                      <a:solidFill>
                        <a:srgbClr val="868A8C"/>
                      </a:solidFill>
                      <a:prstDash val="solid"/>
                    </a:lnB>
                  </a:tcPr>
                </a:tc>
                <a:tc>
                  <a:txBody>
                    <a:bodyPr/>
                    <a:lstStyle/>
                    <a:p>
                      <a:pPr algn="ctr" fontAlgn="ctr"/>
                      <a:r>
                        <a:rPr lang="en-US" sz="1050" b="0" i="0" u="none" strike="noStrike">
                          <a:solidFill>
                            <a:srgbClr val="000000"/>
                          </a:solidFill>
                          <a:effectLst/>
                          <a:latin typeface="Slate Pro" panose="02000506040000020004" pitchFamily="2" charset="0"/>
                          <a:sym typeface="Slate Pro" panose="02000506040000020004" pitchFamily="2" charset="0"/>
                        </a:rPr>
                        <a:t>$23,500 </a:t>
                      </a:r>
                    </a:p>
                  </a:txBody>
                  <a:tcPr marL="0" marR="0" marT="0" marB="0" anchor="ctr">
                    <a:lnT w="9525" cap="flat" cmpd="sng" algn="ctr">
                      <a:solidFill>
                        <a:schemeClr val="bg1">
                          <a:lumMod val="75000"/>
                        </a:schemeClr>
                      </a:solidFill>
                      <a:prstDash val="solid"/>
                      <a:round/>
                      <a:headEnd type="none" w="med" len="med"/>
                      <a:tailEnd type="none" w="med" len="med"/>
                    </a:lnT>
                    <a:lnB w="6350">
                      <a:solidFill>
                        <a:srgbClr val="868A8C"/>
                      </a:solidFill>
                      <a:prstDash val="solid"/>
                    </a:lnB>
                  </a:tcPr>
                </a:tc>
                <a:tc>
                  <a:txBody>
                    <a:bodyPr/>
                    <a:lstStyle/>
                    <a:p>
                      <a:pPr algn="ctr" fontAlgn="ctr"/>
                      <a:r>
                        <a:rPr lang="en-US" sz="1050" b="0" i="0" u="none" strike="noStrike" dirty="0">
                          <a:solidFill>
                            <a:srgbClr val="000000"/>
                          </a:solidFill>
                          <a:effectLst/>
                          <a:latin typeface="Slate Pro" panose="02000506040000020004" pitchFamily="2" charset="0"/>
                          <a:sym typeface="Slate Pro" panose="02000506040000020004" pitchFamily="2" charset="0"/>
                        </a:rPr>
                        <a:t>$20,500 </a:t>
                      </a:r>
                    </a:p>
                  </a:txBody>
                  <a:tcPr marL="0" marR="0" marT="0" marB="0" anchor="ctr">
                    <a:lnT w="9525" cap="flat" cmpd="sng" algn="ctr">
                      <a:solidFill>
                        <a:schemeClr val="bg1">
                          <a:lumMod val="75000"/>
                        </a:schemeClr>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3" name="object 3"/>
          <p:cNvSpPr txBox="1">
            <a:spLocks noGrp="1"/>
          </p:cNvSpPr>
          <p:nvPr>
            <p:ph type="title"/>
          </p:nvPr>
        </p:nvSpPr>
        <p:spPr>
          <a:xfrm>
            <a:off x="502920" y="397470"/>
            <a:ext cx="10002809" cy="56297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How the New Incentive Model Will Benefit You</a:t>
            </a:r>
            <a:endParaRPr sz="1600" dirty="0">
              <a:solidFill>
                <a:srgbClr val="5A87C5"/>
              </a:solidFill>
            </a:endParaRPr>
          </a:p>
        </p:txBody>
      </p:sp>
      <p:sp>
        <p:nvSpPr>
          <p:cNvPr id="9" name="object 9"/>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4</a:t>
            </a:fld>
            <a:endParaRPr spc="-25"/>
          </a:p>
        </p:txBody>
      </p:sp>
      <p:graphicFrame>
        <p:nvGraphicFramePr>
          <p:cNvPr id="13" name="object 2">
            <a:extLst>
              <a:ext uri="{FF2B5EF4-FFF2-40B4-BE49-F238E27FC236}">
                <a16:creationId xmlns:a16="http://schemas.microsoft.com/office/drawing/2014/main" id="{08312B32-873C-25B7-20BF-CB44D8CB33DE}"/>
              </a:ext>
            </a:extLst>
          </p:cNvPr>
          <p:cNvGraphicFramePr>
            <a:graphicFrameLocks noGrp="1"/>
          </p:cNvGraphicFramePr>
          <p:nvPr>
            <p:extLst>
              <p:ext uri="{D42A27DB-BD31-4B8C-83A1-F6EECF244321}">
                <p14:modId xmlns:p14="http://schemas.microsoft.com/office/powerpoint/2010/main" val="83449"/>
              </p:ext>
            </p:extLst>
          </p:nvPr>
        </p:nvGraphicFramePr>
        <p:xfrm>
          <a:off x="518299" y="3934304"/>
          <a:ext cx="9425612" cy="1557595"/>
        </p:xfrm>
        <a:graphic>
          <a:graphicData uri="http://schemas.openxmlformats.org/drawingml/2006/table">
            <a:tbl>
              <a:tblPr firstRow="1" bandRow="1">
                <a:tableStyleId>{2D5ABB26-0587-4C30-8999-92F81FD0307C}</a:tableStyleId>
              </a:tblPr>
              <a:tblGrid>
                <a:gridCol w="5082115">
                  <a:extLst>
                    <a:ext uri="{9D8B030D-6E8A-4147-A177-3AD203B41FA5}">
                      <a16:colId xmlns:a16="http://schemas.microsoft.com/office/drawing/2014/main" val="20000"/>
                    </a:ext>
                  </a:extLst>
                </a:gridCol>
                <a:gridCol w="1081273">
                  <a:extLst>
                    <a:ext uri="{9D8B030D-6E8A-4147-A177-3AD203B41FA5}">
                      <a16:colId xmlns:a16="http://schemas.microsoft.com/office/drawing/2014/main" val="20002"/>
                    </a:ext>
                  </a:extLst>
                </a:gridCol>
                <a:gridCol w="1088254">
                  <a:extLst>
                    <a:ext uri="{9D8B030D-6E8A-4147-A177-3AD203B41FA5}">
                      <a16:colId xmlns:a16="http://schemas.microsoft.com/office/drawing/2014/main" val="20003"/>
                    </a:ext>
                  </a:extLst>
                </a:gridCol>
                <a:gridCol w="1086985">
                  <a:extLst>
                    <a:ext uri="{9D8B030D-6E8A-4147-A177-3AD203B41FA5}">
                      <a16:colId xmlns:a16="http://schemas.microsoft.com/office/drawing/2014/main" val="20004"/>
                    </a:ext>
                  </a:extLst>
                </a:gridCol>
                <a:gridCol w="1086985">
                  <a:extLst>
                    <a:ext uri="{9D8B030D-6E8A-4147-A177-3AD203B41FA5}">
                      <a16:colId xmlns:a16="http://schemas.microsoft.com/office/drawing/2014/main" val="1520367027"/>
                    </a:ext>
                  </a:extLst>
                </a:gridCol>
              </a:tblGrid>
              <a:tr h="248907">
                <a:tc>
                  <a:txBody>
                    <a:bodyPr/>
                    <a:lstStyle/>
                    <a:p>
                      <a:pPr>
                        <a:lnSpc>
                          <a:spcPts val="1015"/>
                        </a:lnSpc>
                      </a:pPr>
                      <a:r>
                        <a:rPr sz="1400" b="1" spc="-40" dirty="0">
                          <a:latin typeface="Slate Pro" panose="02000506040000020004" pitchFamily="2" charset="0"/>
                          <a:cs typeface="Arial"/>
                          <a:sym typeface="Slate Pro" panose="02000506040000020004" pitchFamily="2" charset="0"/>
                        </a:rPr>
                        <a:t>Individual</a:t>
                      </a:r>
                      <a:r>
                        <a:rPr sz="1400" b="1" spc="-50" dirty="0">
                          <a:latin typeface="Slate Pro" panose="02000506040000020004" pitchFamily="2" charset="0"/>
                          <a:cs typeface="Arial"/>
                          <a:sym typeface="Slate Pro" panose="02000506040000020004" pitchFamily="2" charset="0"/>
                        </a:rPr>
                        <a:t> </a:t>
                      </a:r>
                      <a:r>
                        <a:rPr sz="1400" b="1" spc="-40" dirty="0">
                          <a:latin typeface="Slate Pro" panose="02000506040000020004" pitchFamily="2" charset="0"/>
                          <a:cs typeface="Arial"/>
                          <a:sym typeface="Slate Pro" panose="02000506040000020004" pitchFamily="2" charset="0"/>
                        </a:rPr>
                        <a:t>Sale</a:t>
                      </a:r>
                      <a:r>
                        <a:rPr sz="1400" b="1" spc="-45" dirty="0">
                          <a:latin typeface="Slate Pro" panose="02000506040000020004" pitchFamily="2" charset="0"/>
                          <a:cs typeface="Arial"/>
                          <a:sym typeface="Slate Pro" panose="02000506040000020004" pitchFamily="2" charset="0"/>
                        </a:rPr>
                        <a:t> </a:t>
                      </a:r>
                      <a:r>
                        <a:rPr sz="1400" b="1" spc="-10" dirty="0">
                          <a:latin typeface="Slate Pro" panose="02000506040000020004" pitchFamily="2" charset="0"/>
                          <a:cs typeface="Arial"/>
                          <a:sym typeface="Slate Pro" panose="02000506040000020004" pitchFamily="2" charset="0"/>
                        </a:rPr>
                        <a:t>Example</a:t>
                      </a:r>
                      <a:r>
                        <a:rPr lang="en-US" sz="1400" b="1" spc="-10" dirty="0">
                          <a:latin typeface="Slate Pro" panose="02000506040000020004" pitchFamily="2" charset="0"/>
                          <a:cs typeface="Arial"/>
                          <a:sym typeface="Slate Pro" panose="02000506040000020004" pitchFamily="2" charset="0"/>
                        </a:rPr>
                        <a:t> ( Distributor – Partner sold Product A )</a:t>
                      </a:r>
                      <a:endParaRPr sz="1400" dirty="0">
                        <a:latin typeface="Slate Pro" panose="02000506040000020004" pitchFamily="2" charset="0"/>
                        <a:cs typeface="Arial"/>
                        <a:sym typeface="Slate Pro" panose="02000506040000020004" pitchFamily="2" charset="0"/>
                      </a:endParaRPr>
                    </a:p>
                  </a:txBody>
                  <a:tcPr marL="0" marR="0" marT="0" marB="0">
                    <a:lnB w="28575">
                      <a:solidFill>
                        <a:srgbClr val="878787"/>
                      </a:solidFill>
                      <a:prstDash val="solid"/>
                    </a:lnB>
                  </a:tcPr>
                </a:tc>
                <a:tc>
                  <a:txBody>
                    <a:bodyPr/>
                    <a:lstStyle/>
                    <a:p>
                      <a:pPr algn="ctr">
                        <a:lnSpc>
                          <a:spcPts val="1015"/>
                        </a:lnSpc>
                      </a:pPr>
                      <a:r>
                        <a:rPr sz="1200" b="1" spc="-20">
                          <a:solidFill>
                            <a:schemeClr val="bg1"/>
                          </a:solidFill>
                          <a:latin typeface="Slate Pro" panose="02000506040000020004" pitchFamily="2" charset="0"/>
                          <a:cs typeface="Arial"/>
                          <a:sym typeface="Slate Pro" panose="02000506040000020004" pitchFamily="2" charset="0"/>
                        </a:rPr>
                        <a:t>Gold</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F8B737"/>
                    </a:solidFill>
                  </a:tcPr>
                </a:tc>
                <a:tc>
                  <a:txBody>
                    <a:bodyPr/>
                    <a:lstStyle/>
                    <a:p>
                      <a:pPr marL="1270" algn="ctr">
                        <a:lnSpc>
                          <a:spcPts val="1015"/>
                        </a:lnSpc>
                      </a:pPr>
                      <a:r>
                        <a:rPr sz="1200" b="1" spc="-10">
                          <a:solidFill>
                            <a:schemeClr val="bg1"/>
                          </a:solidFill>
                          <a:latin typeface="Slate Pro" panose="02000506040000020004" pitchFamily="2" charset="0"/>
                          <a:cs typeface="Arial"/>
                          <a:sym typeface="Slate Pro" panose="02000506040000020004" pitchFamily="2" charset="0"/>
                        </a:rPr>
                        <a:t>Silver</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AFABAB"/>
                    </a:solidFill>
                  </a:tcPr>
                </a:tc>
                <a:tc>
                  <a:txBody>
                    <a:bodyPr/>
                    <a:lstStyle/>
                    <a:p>
                      <a:pPr algn="ctr">
                        <a:lnSpc>
                          <a:spcPts val="1015"/>
                        </a:lnSpc>
                      </a:pPr>
                      <a:r>
                        <a:rPr sz="1200" b="1" spc="-20">
                          <a:solidFill>
                            <a:schemeClr val="bg1"/>
                          </a:solidFill>
                          <a:latin typeface="Slate Pro" panose="02000506040000020004" pitchFamily="2" charset="0"/>
                          <a:cs typeface="Arial"/>
                          <a:sym typeface="Slate Pro" panose="02000506040000020004" pitchFamily="2" charset="0"/>
                        </a:rPr>
                        <a:t>Gold</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F8B737"/>
                    </a:solidFill>
                  </a:tcPr>
                </a:tc>
                <a:tc>
                  <a:txBody>
                    <a:bodyPr/>
                    <a:lstStyle/>
                    <a:p>
                      <a:pPr marL="1270" algn="ctr">
                        <a:lnSpc>
                          <a:spcPts val="1015"/>
                        </a:lnSpc>
                      </a:pPr>
                      <a:r>
                        <a:rPr sz="1200" b="1" spc="-10">
                          <a:solidFill>
                            <a:schemeClr val="bg1"/>
                          </a:solidFill>
                          <a:latin typeface="Slate Pro" panose="02000506040000020004" pitchFamily="2" charset="0"/>
                          <a:cs typeface="Arial"/>
                          <a:sym typeface="Slate Pro" panose="02000506040000020004" pitchFamily="2" charset="0"/>
                        </a:rPr>
                        <a:t>Silver</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AFABAB"/>
                    </a:solidFill>
                  </a:tcPr>
                </a:tc>
                <a:extLst>
                  <a:ext uri="{0D108BD9-81ED-4DB2-BD59-A6C34878D82A}">
                    <a16:rowId xmlns:a16="http://schemas.microsoft.com/office/drawing/2014/main" val="10000"/>
                  </a:ext>
                </a:extLst>
              </a:tr>
              <a:tr h="327172">
                <a:tc>
                  <a:txBody>
                    <a:bodyPr/>
                    <a:lstStyle/>
                    <a:p>
                      <a:pPr marL="71755">
                        <a:lnSpc>
                          <a:spcPct val="100000"/>
                        </a:lnSpc>
                        <a:spcBef>
                          <a:spcPts val="680"/>
                        </a:spcBef>
                      </a:pPr>
                      <a:r>
                        <a:rPr lang="en-US" sz="1050" spc="0" baseline="0" dirty="0">
                          <a:latin typeface="Slate Pro" panose="02000506040000020004" pitchFamily="2" charset="0"/>
                          <a:cs typeface="Arial"/>
                          <a:sym typeface="Slate Pro" panose="02000506040000020004" pitchFamily="2" charset="0"/>
                        </a:rPr>
                        <a:t>Deal Size – total deal value </a:t>
                      </a:r>
                      <a:r>
                        <a:rPr sz="1050" spc="0" baseline="0" dirty="0">
                          <a:latin typeface="Slate Pro" panose="02000506040000020004" pitchFamily="2" charset="0"/>
                          <a:cs typeface="Arial"/>
                          <a:sym typeface="Slate Pro" panose="02000506040000020004" pitchFamily="2" charset="0"/>
                        </a:rPr>
                        <a:t>(USD)</a:t>
                      </a:r>
                    </a:p>
                  </a:txBody>
                  <a:tcPr marL="0" marR="0" marT="86360" marB="0">
                    <a:lnT w="28575">
                      <a:solidFill>
                        <a:srgbClr val="878787"/>
                      </a:solidFill>
                      <a:prstDash val="solid"/>
                    </a:lnT>
                    <a:lnB w="6350">
                      <a:solidFill>
                        <a:srgbClr val="868A8C"/>
                      </a:solidFill>
                      <a:prstDash val="soli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a:solidFill>
                        <a:srgbClr val="878787"/>
                      </a:solidFill>
                      <a:prstDash val="solid"/>
                    </a:lnT>
                    <a:lnB w="6350">
                      <a:solidFill>
                        <a:srgbClr val="868A8C"/>
                      </a:solidFill>
                      <a:prstDash val="soli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a:solidFill>
                        <a:srgbClr val="868A8C"/>
                      </a:solidFill>
                      <a:prstDash val="soli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1"/>
                  </a:ext>
                </a:extLst>
              </a:tr>
              <a:tr h="327172">
                <a:tc>
                  <a:txBody>
                    <a:bodyPr/>
                    <a:lstStyle/>
                    <a:p>
                      <a:pPr marL="71755">
                        <a:lnSpc>
                          <a:spcPct val="100000"/>
                        </a:lnSpc>
                        <a:spcBef>
                          <a:spcPts val="635"/>
                        </a:spcBef>
                      </a:pPr>
                      <a:r>
                        <a:rPr lang="en-US" sz="1050" spc="0" baseline="0" dirty="0">
                          <a:latin typeface="Slate Pro" panose="02000506040000020004" pitchFamily="2" charset="0"/>
                          <a:cs typeface="Arial"/>
                          <a:sym typeface="Slate Pro" panose="02000506040000020004" pitchFamily="2" charset="0"/>
                        </a:rPr>
                        <a:t>Deal Registration</a:t>
                      </a:r>
                    </a:p>
                  </a:txBody>
                  <a:tcPr marL="0" marR="0" marT="80645" marB="0">
                    <a:lnT w="6350">
                      <a:solidFill>
                        <a:srgbClr val="868A8C"/>
                      </a:solidFill>
                      <a:prstDash val="solid"/>
                    </a:lnT>
                    <a:lnB w="6350">
                      <a:solidFill>
                        <a:srgbClr val="868A8C"/>
                      </a:solidFill>
                      <a:prstDash val="solid"/>
                    </a:lnB>
                  </a:tcPr>
                </a:tc>
                <a:tc gridSpan="4">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Included in Discount</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a:txBody>
                    <a:bodyPr/>
                    <a:lstStyle/>
                    <a:p>
                      <a:pPr marL="635" algn="ctr">
                        <a:lnSpc>
                          <a:spcPct val="100000"/>
                        </a:lnSpc>
                        <a:spcBef>
                          <a:spcPts val="635"/>
                        </a:spcBef>
                      </a:pPr>
                      <a:endParaRPr sz="1000" dirty="0">
                        <a:latin typeface="Proxima Nova Rg" panose="02000506030000020004" pitchFamily="50" charset="0"/>
                        <a:cs typeface="Arial"/>
                      </a:endParaRPr>
                    </a:p>
                  </a:txBody>
                  <a:tcPr marL="0" marR="0" marT="80645" marB="0">
                    <a:lnT w="6350" cap="flat" cmpd="sng" algn="ctr">
                      <a:solidFill>
                        <a:srgbClr val="868A8C"/>
                      </a:solidFill>
                      <a:prstDash val="solid"/>
                      <a:round/>
                      <a:headEnd type="none" w="med" len="med"/>
                      <a:tailEnd type="none" w="med" len="med"/>
                    </a:lnT>
                    <a:lnB w="6350">
                      <a:solidFill>
                        <a:srgbClr val="868A8C"/>
                      </a:solidFill>
                      <a:prstDash val="solid"/>
                    </a:lnB>
                  </a:tcPr>
                </a:tc>
                <a:tc hMerge="1">
                  <a:txBody>
                    <a:bodyPr/>
                    <a:lstStyle/>
                    <a:p>
                      <a:pPr algn="ctr">
                        <a:lnSpc>
                          <a:spcPct val="100000"/>
                        </a:lnSpc>
                        <a:spcBef>
                          <a:spcPts val="635"/>
                        </a:spcBef>
                      </a:pPr>
                      <a:endParaRPr sz="1000" dirty="0">
                        <a:latin typeface="Proxima Nova Rg" panose="02000506030000020004" pitchFamily="50" charset="0"/>
                        <a:cs typeface="Arial"/>
                      </a:endParaRPr>
                    </a:p>
                  </a:txBody>
                  <a:tcPr marL="0" marR="0" marT="80645" marB="0">
                    <a:lnT w="6350" cap="flat" cmpd="sng" algn="ctr">
                      <a:solidFill>
                        <a:srgbClr val="868A8C"/>
                      </a:solidFill>
                      <a:prstDash val="solid"/>
                      <a:round/>
                      <a:headEnd type="none" w="med" len="med"/>
                      <a:tailEnd type="none" w="med" len="med"/>
                    </a:lnT>
                    <a:lnB w="6350">
                      <a:solidFill>
                        <a:srgbClr val="868A8C"/>
                      </a:solidFill>
                      <a:prstDash val="solid"/>
                    </a:lnB>
                  </a:tcPr>
                </a:tc>
                <a:tc hMerge="1">
                  <a:txBody>
                    <a:bodyPr/>
                    <a:lstStyle/>
                    <a:p>
                      <a:pPr algn="ctr">
                        <a:lnSpc>
                          <a:spcPct val="100000"/>
                        </a:lnSpc>
                        <a:spcBef>
                          <a:spcPts val="635"/>
                        </a:spcBef>
                      </a:pPr>
                      <a:endParaRPr sz="1000" dirty="0">
                        <a:latin typeface="Proxima Nova Rg" panose="02000506030000020004" pitchFamily="50" charset="0"/>
                        <a:cs typeface="Arial"/>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2"/>
                  </a:ext>
                </a:extLst>
              </a:tr>
              <a:tr h="327172">
                <a:tc>
                  <a:txBody>
                    <a:bodyPr/>
                    <a:lstStyle/>
                    <a:p>
                      <a:pPr marL="71120">
                        <a:lnSpc>
                          <a:spcPct val="100000"/>
                        </a:lnSpc>
                        <a:spcBef>
                          <a:spcPts val="635"/>
                        </a:spcBef>
                      </a:pPr>
                      <a:r>
                        <a:rPr lang="en-US" sz="1050" spc="0" baseline="0" dirty="0">
                          <a:latin typeface="Slate Pro" panose="02000506040000020004" pitchFamily="2" charset="0"/>
                          <a:cs typeface="Arial"/>
                          <a:sym typeface="Slate Pro" panose="02000506040000020004" pitchFamily="2" charset="0"/>
                        </a:rPr>
                        <a:t>Distributor Discount</a:t>
                      </a:r>
                      <a:endParaRPr sz="1050" spc="0" baseline="0" dirty="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a:solidFill>
                        <a:srgbClr val="868A8C"/>
                      </a:solidFill>
                      <a:prstDash val="solid"/>
                    </a:lnB>
                  </a:tcPr>
                </a:tc>
                <a:tc>
                  <a:txBody>
                    <a:bodyPr/>
                    <a:lstStyle/>
                    <a:p>
                      <a:pPr algn="ctr">
                        <a:lnSpc>
                          <a:spcPct val="100000"/>
                        </a:lnSpc>
                        <a:spcBef>
                          <a:spcPts val="635"/>
                        </a:spcBef>
                      </a:pPr>
                      <a:r>
                        <a:rPr lang="en-US" sz="1050" dirty="0">
                          <a:latin typeface="Slate Pro" panose="02000506040000020004" pitchFamily="2" charset="0"/>
                          <a:cs typeface="Arial"/>
                          <a:sym typeface="Slate Pro" panose="02000506040000020004" pitchFamily="2" charset="0"/>
                        </a:rPr>
                        <a:t>$70,000</a:t>
                      </a:r>
                      <a:endParaRPr sz="1050" dirty="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marL="635" algn="ctr">
                        <a:lnSpc>
                          <a:spcPct val="100000"/>
                        </a:lnSpc>
                        <a:spcBef>
                          <a:spcPts val="635"/>
                        </a:spcBef>
                      </a:pPr>
                      <a:r>
                        <a:rPr lang="en-US" sz="1050">
                          <a:latin typeface="Slate Pro" panose="02000506040000020004" pitchFamily="2" charset="0"/>
                          <a:cs typeface="Arial"/>
                          <a:sym typeface="Slate Pro" panose="02000506040000020004" pitchFamily="2" charset="0"/>
                        </a:rPr>
                        <a:t>$50,000</a:t>
                      </a:r>
                      <a:endParaRPr sz="105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a:solidFill>
                        <a:srgbClr val="868A8C"/>
                      </a:solidFill>
                      <a:prstDash val="soli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70,000</a:t>
                      </a:r>
                      <a:endParaRPr sz="105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a:solidFill>
                        <a:srgbClr val="868A8C"/>
                      </a:solidFill>
                      <a:prstDash val="solid"/>
                    </a:lnB>
                  </a:tcPr>
                </a:tc>
                <a:tc>
                  <a:txBody>
                    <a:bodyPr/>
                    <a:lstStyle/>
                    <a:p>
                      <a:pPr marL="635" algn="ctr">
                        <a:lnSpc>
                          <a:spcPct val="100000"/>
                        </a:lnSpc>
                        <a:spcBef>
                          <a:spcPts val="635"/>
                        </a:spcBef>
                      </a:pPr>
                      <a:r>
                        <a:rPr lang="en-US" sz="1050">
                          <a:latin typeface="Slate Pro" panose="02000506040000020004" pitchFamily="2" charset="0"/>
                          <a:cs typeface="Arial"/>
                          <a:sym typeface="Slate Pro" panose="02000506040000020004" pitchFamily="2" charset="0"/>
                        </a:rPr>
                        <a:t>$50,000</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3"/>
                  </a:ext>
                </a:extLst>
              </a:tr>
              <a:tr h="327172">
                <a:tc>
                  <a:txBody>
                    <a:bodyPr/>
                    <a:lstStyle/>
                    <a:p>
                      <a:pPr marL="71755">
                        <a:lnSpc>
                          <a:spcPct val="100000"/>
                        </a:lnSpc>
                        <a:spcBef>
                          <a:spcPts val="655"/>
                        </a:spcBef>
                      </a:pPr>
                      <a:r>
                        <a:rPr lang="en-US" sz="1400" b="1" spc="-20">
                          <a:solidFill>
                            <a:srgbClr val="00B050"/>
                          </a:solidFill>
                          <a:latin typeface="Slate Pro" panose="02000506040000020004" pitchFamily="2" charset="0"/>
                          <a:cs typeface="Arial"/>
                          <a:sym typeface="Slate Pro" panose="02000506040000020004" pitchFamily="2" charset="0"/>
                        </a:rPr>
                        <a:t>You Pay</a:t>
                      </a:r>
                      <a:endParaRPr lang="en-US" sz="1400" b="1">
                        <a:solidFill>
                          <a:srgbClr val="00B050"/>
                        </a:solidFill>
                        <a:latin typeface="Slate Pro" panose="02000506040000020004" pitchFamily="2" charset="0"/>
                        <a:cs typeface="Arial"/>
                        <a:sym typeface="Slate Pro" panose="02000506040000020004" pitchFamily="2" charset="0"/>
                      </a:endParaRPr>
                    </a:p>
                  </a:txBody>
                  <a:tcPr marL="0" marR="0" marT="0" marB="0" anchor="ctr">
                    <a:lnT w="6350">
                      <a:solidFill>
                        <a:srgbClr val="868A8C"/>
                      </a:solidFill>
                      <a:prstDash val="solid"/>
                    </a:lnT>
                    <a:lnB w="9525" cap="flat" cmpd="sng" algn="ctr">
                      <a:solidFill>
                        <a:schemeClr val="bg1">
                          <a:lumMod val="75000"/>
                        </a:schemeClr>
                      </a:solidFill>
                      <a:prstDash val="solid"/>
                      <a:round/>
                      <a:headEnd type="none" w="med" len="med"/>
                      <a:tailEnd type="none" w="med" len="med"/>
                    </a:lnB>
                  </a:tcPr>
                </a:tc>
                <a:tc>
                  <a:txBody>
                    <a:bodyPr/>
                    <a:lstStyle/>
                    <a:p>
                      <a:pPr algn="ctr">
                        <a:lnSpc>
                          <a:spcPct val="100000"/>
                        </a:lnSpc>
                        <a:spcBef>
                          <a:spcPts val="620"/>
                        </a:spcBef>
                      </a:pPr>
                      <a:r>
                        <a:rPr lang="en-US" sz="1050">
                          <a:latin typeface="Slate Pro" panose="02000506040000020004" pitchFamily="2" charset="0"/>
                          <a:cs typeface="Arial"/>
                          <a:sym typeface="Slate Pro" panose="02000506040000020004" pitchFamily="2" charset="0"/>
                        </a:rPr>
                        <a:t>$30,000</a:t>
                      </a:r>
                      <a:endParaRPr sz="1050">
                        <a:latin typeface="Slate Pro" panose="02000506040000020004" pitchFamily="2" charset="0"/>
                        <a:cs typeface="Arial"/>
                        <a:sym typeface="Slate Pro" panose="02000506040000020004" pitchFamily="2" charset="0"/>
                      </a:endParaRPr>
                    </a:p>
                  </a:txBody>
                  <a:tcPr marL="0" marR="0" marT="78740" marB="0">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a:lnSpc>
                          <a:spcPct val="100000"/>
                        </a:lnSpc>
                        <a:spcBef>
                          <a:spcPts val="620"/>
                        </a:spcBef>
                      </a:pPr>
                      <a:r>
                        <a:rPr lang="en-US" sz="1050">
                          <a:latin typeface="Slate Pro" panose="02000506040000020004" pitchFamily="2" charset="0"/>
                          <a:cs typeface="Arial"/>
                          <a:sym typeface="Slate Pro" panose="02000506040000020004" pitchFamily="2" charset="0"/>
                        </a:rPr>
                        <a:t>$50,000</a:t>
                      </a:r>
                      <a:endParaRPr sz="1050">
                        <a:latin typeface="Slate Pro" panose="02000506040000020004" pitchFamily="2" charset="0"/>
                        <a:cs typeface="Arial"/>
                        <a:sym typeface="Slate Pro" panose="02000506040000020004" pitchFamily="2" charset="0"/>
                      </a:endParaRPr>
                    </a:p>
                  </a:txBody>
                  <a:tcPr marL="0" marR="0" marT="78740" marB="0">
                    <a:lnT w="6350">
                      <a:solidFill>
                        <a:srgbClr val="868A8C"/>
                      </a:solidFill>
                      <a:prstDash val="soli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eaLnBrk="1" fontAlgn="auto" latinLnBrk="0" hangingPunct="1">
                        <a:lnSpc>
                          <a:spcPct val="100000"/>
                        </a:lnSpc>
                        <a:spcBef>
                          <a:spcPts val="620"/>
                        </a:spcBef>
                        <a:spcAft>
                          <a:spcPts val="0"/>
                        </a:spcAft>
                        <a:buClrTx/>
                        <a:buSzTx/>
                        <a:buFontTx/>
                        <a:buNone/>
                        <a:tabLst/>
                        <a:defRPr/>
                      </a:pPr>
                      <a:r>
                        <a:rPr lang="en-US" sz="1050">
                          <a:latin typeface="Slate Pro" panose="02000506040000020004" pitchFamily="2" charset="0"/>
                          <a:cs typeface="Arial"/>
                          <a:sym typeface="Slate Pro" panose="02000506040000020004" pitchFamily="2" charset="0"/>
                        </a:rPr>
                        <a:t>$30,000</a:t>
                      </a:r>
                    </a:p>
                  </a:txBody>
                  <a:tcPr marL="0" marR="0" marT="78740" marB="0">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eaLnBrk="1" fontAlgn="auto" latinLnBrk="0" hangingPunct="1">
                        <a:lnSpc>
                          <a:spcPct val="100000"/>
                        </a:lnSpc>
                        <a:spcBef>
                          <a:spcPts val="620"/>
                        </a:spcBef>
                        <a:spcAft>
                          <a:spcPts val="0"/>
                        </a:spcAft>
                        <a:buClrTx/>
                        <a:buSzTx/>
                        <a:buFontTx/>
                        <a:buNone/>
                        <a:tabLst/>
                        <a:defRPr/>
                      </a:pPr>
                      <a:r>
                        <a:rPr lang="en-US" sz="1050" dirty="0">
                          <a:latin typeface="Slate Pro" panose="02000506040000020004" pitchFamily="2" charset="0"/>
                          <a:cs typeface="Arial"/>
                          <a:sym typeface="Slate Pro" panose="02000506040000020004" pitchFamily="2" charset="0"/>
                        </a:rPr>
                        <a:t>$50,000</a:t>
                      </a:r>
                    </a:p>
                  </a:txBody>
                  <a:tcPr marL="0" marR="0" marT="78740" marB="0">
                    <a:lnT w="6350" cap="flat" cmpd="sng" algn="ctr">
                      <a:solidFill>
                        <a:srgbClr val="868A8C"/>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5" name="object 2">
            <a:extLst>
              <a:ext uri="{FF2B5EF4-FFF2-40B4-BE49-F238E27FC236}">
                <a16:creationId xmlns:a16="http://schemas.microsoft.com/office/drawing/2014/main" id="{0ADCC688-C1B1-38FC-CE7A-7A7718654CF1}"/>
              </a:ext>
            </a:extLst>
          </p:cNvPr>
          <p:cNvGraphicFramePr>
            <a:graphicFrameLocks noGrp="1"/>
          </p:cNvGraphicFramePr>
          <p:nvPr>
            <p:extLst>
              <p:ext uri="{D42A27DB-BD31-4B8C-83A1-F6EECF244321}">
                <p14:modId xmlns:p14="http://schemas.microsoft.com/office/powerpoint/2010/main" val="2244635759"/>
              </p:ext>
            </p:extLst>
          </p:nvPr>
        </p:nvGraphicFramePr>
        <p:xfrm>
          <a:off x="518299" y="5701685"/>
          <a:ext cx="9425612" cy="1230423"/>
        </p:xfrm>
        <a:graphic>
          <a:graphicData uri="http://schemas.openxmlformats.org/drawingml/2006/table">
            <a:tbl>
              <a:tblPr firstRow="1" bandRow="1">
                <a:tableStyleId>{2D5ABB26-0587-4C30-8999-92F81FD0307C}</a:tableStyleId>
              </a:tblPr>
              <a:tblGrid>
                <a:gridCol w="5082115">
                  <a:extLst>
                    <a:ext uri="{9D8B030D-6E8A-4147-A177-3AD203B41FA5}">
                      <a16:colId xmlns:a16="http://schemas.microsoft.com/office/drawing/2014/main" val="20000"/>
                    </a:ext>
                  </a:extLst>
                </a:gridCol>
                <a:gridCol w="1081273">
                  <a:extLst>
                    <a:ext uri="{9D8B030D-6E8A-4147-A177-3AD203B41FA5}">
                      <a16:colId xmlns:a16="http://schemas.microsoft.com/office/drawing/2014/main" val="20002"/>
                    </a:ext>
                  </a:extLst>
                </a:gridCol>
                <a:gridCol w="1088254">
                  <a:extLst>
                    <a:ext uri="{9D8B030D-6E8A-4147-A177-3AD203B41FA5}">
                      <a16:colId xmlns:a16="http://schemas.microsoft.com/office/drawing/2014/main" val="20003"/>
                    </a:ext>
                  </a:extLst>
                </a:gridCol>
                <a:gridCol w="1086985">
                  <a:extLst>
                    <a:ext uri="{9D8B030D-6E8A-4147-A177-3AD203B41FA5}">
                      <a16:colId xmlns:a16="http://schemas.microsoft.com/office/drawing/2014/main" val="20004"/>
                    </a:ext>
                  </a:extLst>
                </a:gridCol>
                <a:gridCol w="1086985">
                  <a:extLst>
                    <a:ext uri="{9D8B030D-6E8A-4147-A177-3AD203B41FA5}">
                      <a16:colId xmlns:a16="http://schemas.microsoft.com/office/drawing/2014/main" val="1520367027"/>
                    </a:ext>
                  </a:extLst>
                </a:gridCol>
              </a:tblGrid>
              <a:tr h="248907">
                <a:tc>
                  <a:txBody>
                    <a:bodyPr/>
                    <a:lstStyle/>
                    <a:p>
                      <a:pPr>
                        <a:lnSpc>
                          <a:spcPts val="1015"/>
                        </a:lnSpc>
                      </a:pPr>
                      <a:r>
                        <a:rPr sz="1400" b="1" spc="-40">
                          <a:latin typeface="Slate Pro" panose="02000506040000020004" pitchFamily="2" charset="0"/>
                          <a:cs typeface="Arial"/>
                          <a:sym typeface="Slate Pro" panose="02000506040000020004" pitchFamily="2" charset="0"/>
                        </a:rPr>
                        <a:t>Individual</a:t>
                      </a:r>
                      <a:r>
                        <a:rPr sz="1400" b="1" spc="-50">
                          <a:latin typeface="Slate Pro" panose="02000506040000020004" pitchFamily="2" charset="0"/>
                          <a:cs typeface="Arial"/>
                          <a:sym typeface="Slate Pro" panose="02000506040000020004" pitchFamily="2" charset="0"/>
                        </a:rPr>
                        <a:t> </a:t>
                      </a:r>
                      <a:r>
                        <a:rPr sz="1400" b="1" spc="-40">
                          <a:latin typeface="Slate Pro" panose="02000506040000020004" pitchFamily="2" charset="0"/>
                          <a:cs typeface="Arial"/>
                          <a:sym typeface="Slate Pro" panose="02000506040000020004" pitchFamily="2" charset="0"/>
                        </a:rPr>
                        <a:t>Sale</a:t>
                      </a:r>
                      <a:r>
                        <a:rPr sz="1400" b="1" spc="-45">
                          <a:latin typeface="Slate Pro" panose="02000506040000020004" pitchFamily="2" charset="0"/>
                          <a:cs typeface="Arial"/>
                          <a:sym typeface="Slate Pro" panose="02000506040000020004" pitchFamily="2" charset="0"/>
                        </a:rPr>
                        <a:t> </a:t>
                      </a:r>
                      <a:r>
                        <a:rPr sz="1400" b="1" spc="-10">
                          <a:latin typeface="Slate Pro" panose="02000506040000020004" pitchFamily="2" charset="0"/>
                          <a:cs typeface="Arial"/>
                          <a:sym typeface="Slate Pro" panose="02000506040000020004" pitchFamily="2" charset="0"/>
                        </a:rPr>
                        <a:t>Example</a:t>
                      </a:r>
                      <a:r>
                        <a:rPr lang="en-US" sz="1400" b="1" spc="-10">
                          <a:latin typeface="Slate Pro" panose="02000506040000020004" pitchFamily="2" charset="0"/>
                          <a:cs typeface="Arial"/>
                          <a:sym typeface="Slate Pro" panose="02000506040000020004" pitchFamily="2" charset="0"/>
                        </a:rPr>
                        <a:t> ( Referral)</a:t>
                      </a:r>
                      <a:endParaRPr sz="1400">
                        <a:latin typeface="Slate Pro" panose="02000506040000020004" pitchFamily="2" charset="0"/>
                        <a:cs typeface="Arial"/>
                        <a:sym typeface="Slate Pro" panose="02000506040000020004" pitchFamily="2" charset="0"/>
                      </a:endParaRPr>
                    </a:p>
                  </a:txBody>
                  <a:tcPr marL="0" marR="0" marT="0" marB="0">
                    <a:lnB w="28575">
                      <a:solidFill>
                        <a:srgbClr val="878787"/>
                      </a:solidFill>
                      <a:prstDash val="solid"/>
                    </a:lnB>
                  </a:tcPr>
                </a:tc>
                <a:tc>
                  <a:txBody>
                    <a:bodyPr/>
                    <a:lstStyle/>
                    <a:p>
                      <a:pPr algn="ctr">
                        <a:lnSpc>
                          <a:spcPts val="1015"/>
                        </a:lnSpc>
                      </a:pPr>
                      <a:r>
                        <a:rPr sz="1200" b="1" spc="-20">
                          <a:solidFill>
                            <a:schemeClr val="bg1"/>
                          </a:solidFill>
                          <a:latin typeface="Slate Pro" panose="02000506040000020004" pitchFamily="2" charset="0"/>
                          <a:cs typeface="Arial"/>
                          <a:sym typeface="Slate Pro" panose="02000506040000020004" pitchFamily="2" charset="0"/>
                        </a:rPr>
                        <a:t>Gold</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F8B737"/>
                    </a:solidFill>
                  </a:tcPr>
                </a:tc>
                <a:tc>
                  <a:txBody>
                    <a:bodyPr/>
                    <a:lstStyle/>
                    <a:p>
                      <a:pPr marL="1270" algn="ctr">
                        <a:lnSpc>
                          <a:spcPts val="1015"/>
                        </a:lnSpc>
                      </a:pPr>
                      <a:r>
                        <a:rPr sz="1200" b="1" spc="-10">
                          <a:solidFill>
                            <a:schemeClr val="bg1"/>
                          </a:solidFill>
                          <a:latin typeface="Slate Pro" panose="02000506040000020004" pitchFamily="2" charset="0"/>
                          <a:cs typeface="Arial"/>
                          <a:sym typeface="Slate Pro" panose="02000506040000020004" pitchFamily="2" charset="0"/>
                        </a:rPr>
                        <a:t>Silver</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AFABAB"/>
                    </a:solidFill>
                  </a:tcPr>
                </a:tc>
                <a:tc>
                  <a:txBody>
                    <a:bodyPr/>
                    <a:lstStyle/>
                    <a:p>
                      <a:pPr algn="ctr">
                        <a:lnSpc>
                          <a:spcPts val="1015"/>
                        </a:lnSpc>
                      </a:pPr>
                      <a:r>
                        <a:rPr sz="1200" b="1" spc="-20">
                          <a:solidFill>
                            <a:schemeClr val="bg1"/>
                          </a:solidFill>
                          <a:latin typeface="Slate Pro" panose="02000506040000020004" pitchFamily="2" charset="0"/>
                          <a:cs typeface="Arial"/>
                          <a:sym typeface="Slate Pro" panose="02000506040000020004" pitchFamily="2" charset="0"/>
                        </a:rPr>
                        <a:t>Gold</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F8B737"/>
                    </a:solidFill>
                  </a:tcPr>
                </a:tc>
                <a:tc>
                  <a:txBody>
                    <a:bodyPr/>
                    <a:lstStyle/>
                    <a:p>
                      <a:pPr marL="1270" algn="ctr">
                        <a:lnSpc>
                          <a:spcPts val="1015"/>
                        </a:lnSpc>
                      </a:pPr>
                      <a:r>
                        <a:rPr sz="1200" b="1" spc="-10">
                          <a:solidFill>
                            <a:schemeClr val="bg1"/>
                          </a:solidFill>
                          <a:latin typeface="Slate Pro" panose="02000506040000020004" pitchFamily="2" charset="0"/>
                          <a:cs typeface="Arial"/>
                          <a:sym typeface="Slate Pro" panose="02000506040000020004" pitchFamily="2" charset="0"/>
                        </a:rPr>
                        <a:t>Silver</a:t>
                      </a:r>
                      <a:endParaRPr sz="1200">
                        <a:solidFill>
                          <a:schemeClr val="bg1"/>
                        </a:solidFill>
                        <a:latin typeface="Slate Pro" panose="02000506040000020004" pitchFamily="2" charset="0"/>
                        <a:cs typeface="Arial"/>
                        <a:sym typeface="Slate Pro" panose="02000506040000020004" pitchFamily="2" charset="0"/>
                      </a:endParaRPr>
                    </a:p>
                  </a:txBody>
                  <a:tcPr marL="0" marR="0" marT="0" marB="0" anchor="ctr">
                    <a:lnB w="28575" cap="flat" cmpd="sng" algn="ctr">
                      <a:solidFill>
                        <a:srgbClr val="878787"/>
                      </a:solidFill>
                      <a:prstDash val="solid"/>
                      <a:round/>
                      <a:headEnd type="none" w="med" len="med"/>
                      <a:tailEnd type="none" w="med" len="med"/>
                    </a:lnB>
                    <a:solidFill>
                      <a:srgbClr val="AFABAB"/>
                    </a:solidFill>
                  </a:tcPr>
                </a:tc>
                <a:extLst>
                  <a:ext uri="{0D108BD9-81ED-4DB2-BD59-A6C34878D82A}">
                    <a16:rowId xmlns:a16="http://schemas.microsoft.com/office/drawing/2014/main" val="10000"/>
                  </a:ext>
                </a:extLst>
              </a:tr>
              <a:tr h="327172">
                <a:tc>
                  <a:txBody>
                    <a:bodyPr/>
                    <a:lstStyle/>
                    <a:p>
                      <a:pPr marL="71755">
                        <a:lnSpc>
                          <a:spcPct val="100000"/>
                        </a:lnSpc>
                        <a:spcBef>
                          <a:spcPts val="680"/>
                        </a:spcBef>
                      </a:pPr>
                      <a:r>
                        <a:rPr lang="en-US" sz="1050" spc="-50" dirty="0">
                          <a:latin typeface="Slate Pro" panose="02000506040000020004" pitchFamily="2" charset="0"/>
                          <a:cs typeface="Arial"/>
                          <a:sym typeface="Slate Pro" panose="02000506040000020004" pitchFamily="2" charset="0"/>
                        </a:rPr>
                        <a:t>Deal Size - Average ACV </a:t>
                      </a:r>
                      <a:r>
                        <a:rPr sz="1050" spc="-10" dirty="0">
                          <a:latin typeface="Slate Pro" panose="02000506040000020004" pitchFamily="2" charset="0"/>
                          <a:cs typeface="Arial"/>
                          <a:sym typeface="Slate Pro" panose="02000506040000020004" pitchFamily="2" charset="0"/>
                        </a:rPr>
                        <a:t>(USD)</a:t>
                      </a:r>
                      <a:endParaRPr sz="1050" dirty="0">
                        <a:latin typeface="Slate Pro" panose="02000506040000020004" pitchFamily="2" charset="0"/>
                        <a:cs typeface="Arial"/>
                        <a:sym typeface="Slate Pro" panose="02000506040000020004" pitchFamily="2" charset="0"/>
                      </a:endParaRPr>
                    </a:p>
                  </a:txBody>
                  <a:tcPr marL="0" marR="0" marT="86360" marB="0">
                    <a:lnT w="28575">
                      <a:solidFill>
                        <a:srgbClr val="878787"/>
                      </a:solidFill>
                      <a:prstDash val="solid"/>
                    </a:lnT>
                    <a:lnB w="6350">
                      <a:solidFill>
                        <a:srgbClr val="868A8C"/>
                      </a:solidFill>
                      <a:prstDash val="soli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a:solidFill>
                        <a:srgbClr val="878787"/>
                      </a:solidFill>
                      <a:prstDash val="solid"/>
                    </a:lnT>
                    <a:lnB w="6350">
                      <a:solidFill>
                        <a:srgbClr val="868A8C"/>
                      </a:solidFill>
                      <a:prstDash val="soli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80"/>
                        </a:spcBef>
                      </a:pPr>
                      <a:r>
                        <a:rPr sz="1050" spc="-10">
                          <a:latin typeface="Slate Pro" panose="02000506040000020004" pitchFamily="2" charset="0"/>
                          <a:cs typeface="Arial"/>
                          <a:sym typeface="Slate Pro" panose="02000506040000020004" pitchFamily="2" charset="0"/>
                        </a:rPr>
                        <a:t>$</a:t>
                      </a:r>
                      <a:r>
                        <a:rPr lang="en-US" sz="1050" spc="-10">
                          <a:latin typeface="Slate Pro" panose="02000506040000020004" pitchFamily="2" charset="0"/>
                          <a:cs typeface="Arial"/>
                          <a:sym typeface="Slate Pro" panose="02000506040000020004" pitchFamily="2" charset="0"/>
                        </a:rPr>
                        <a:t>100</a:t>
                      </a:r>
                      <a:r>
                        <a:rPr sz="1050" spc="-10">
                          <a:latin typeface="Slate Pro" panose="02000506040000020004" pitchFamily="2" charset="0"/>
                          <a:cs typeface="Arial"/>
                          <a:sym typeface="Slate Pro" panose="02000506040000020004" pitchFamily="2" charset="0"/>
                        </a:rPr>
                        <a:t>,000</a:t>
                      </a:r>
                      <a:endParaRPr sz="1050">
                        <a:latin typeface="Slate Pro" panose="02000506040000020004" pitchFamily="2" charset="0"/>
                        <a:cs typeface="Arial"/>
                        <a:sym typeface="Slate Pro" panose="02000506040000020004" pitchFamily="2" charset="0"/>
                      </a:endParaRPr>
                    </a:p>
                  </a:txBody>
                  <a:tcPr marL="0" marR="0" marT="86360" marB="0">
                    <a:lnT w="28575" cap="flat" cmpd="sng" algn="ctr">
                      <a:solidFill>
                        <a:srgbClr val="878787"/>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1"/>
                  </a:ext>
                </a:extLst>
              </a:tr>
              <a:tr h="327172">
                <a:tc>
                  <a:txBody>
                    <a:bodyPr/>
                    <a:lstStyle/>
                    <a:p>
                      <a:pPr marL="71755">
                        <a:lnSpc>
                          <a:spcPct val="100000"/>
                        </a:lnSpc>
                        <a:spcBef>
                          <a:spcPts val="635"/>
                        </a:spcBef>
                      </a:pPr>
                      <a:r>
                        <a:rPr lang="en-US" sz="1050" spc="-10">
                          <a:latin typeface="Slate Pro" panose="02000506040000020004" pitchFamily="2" charset="0"/>
                          <a:cs typeface="Arial"/>
                          <a:sym typeface="Slate Pro" panose="02000506040000020004" pitchFamily="2" charset="0"/>
                        </a:rPr>
                        <a:t>Referral Payout</a:t>
                      </a:r>
                    </a:p>
                  </a:txBody>
                  <a:tcPr marL="0" marR="0" marT="80645" marB="0">
                    <a:lnT w="6350">
                      <a:solidFill>
                        <a:srgbClr val="868A8C"/>
                      </a:solidFill>
                      <a:prstDash val="solid"/>
                    </a:lnT>
                    <a:lnB w="6350">
                      <a:solidFill>
                        <a:srgbClr val="868A8C"/>
                      </a:solidFill>
                      <a:prstDash val="soli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a:solidFill>
                        <a:srgbClr val="868A8C"/>
                      </a:solidFill>
                      <a:prstDash val="soli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2"/>
                  </a:ext>
                </a:extLst>
              </a:tr>
              <a:tr h="327172">
                <a:tc>
                  <a:txBody>
                    <a:bodyPr/>
                    <a:lstStyle/>
                    <a:p>
                      <a:pPr marL="71755">
                        <a:lnSpc>
                          <a:spcPct val="100000"/>
                        </a:lnSpc>
                        <a:spcBef>
                          <a:spcPts val="655"/>
                        </a:spcBef>
                      </a:pPr>
                      <a:r>
                        <a:rPr lang="en-US" sz="1400" b="1" spc="-20">
                          <a:solidFill>
                            <a:srgbClr val="00B050"/>
                          </a:solidFill>
                          <a:latin typeface="Slate Pro" panose="02000506040000020004" pitchFamily="2" charset="0"/>
                          <a:cs typeface="Arial"/>
                          <a:sym typeface="Slate Pro" panose="02000506040000020004" pitchFamily="2" charset="0"/>
                        </a:rPr>
                        <a:t>Your Payout (Annually for contract life)</a:t>
                      </a:r>
                      <a:endParaRPr lang="en-US" sz="1400" b="1">
                        <a:solidFill>
                          <a:srgbClr val="00B050"/>
                        </a:solidFill>
                        <a:latin typeface="Slate Pro" panose="02000506040000020004" pitchFamily="2" charset="0"/>
                        <a:cs typeface="Arial"/>
                        <a:sym typeface="Slate Pro" panose="02000506040000020004" pitchFamily="2" charset="0"/>
                      </a:endParaRPr>
                    </a:p>
                  </a:txBody>
                  <a:tcPr marL="0" marR="0" marT="0" marB="0" anchor="ctr">
                    <a:lnT w="6350">
                      <a:solidFill>
                        <a:srgbClr val="868A8C"/>
                      </a:solidFill>
                      <a:prstDash val="solid"/>
                    </a:lnT>
                    <a:lnB w="6350">
                      <a:solidFill>
                        <a:srgbClr val="868A8C"/>
                      </a:solidFill>
                      <a:prstDash val="soli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a:solidFill>
                        <a:srgbClr val="868A8C"/>
                      </a:solidFill>
                      <a:prstDash val="solid"/>
                    </a:lnB>
                  </a:tcPr>
                </a:tc>
                <a:tc>
                  <a:txBody>
                    <a:bodyPr/>
                    <a:lstStyle/>
                    <a:p>
                      <a:pPr algn="ctr">
                        <a:lnSpc>
                          <a:spcPct val="100000"/>
                        </a:lnSpc>
                        <a:spcBef>
                          <a:spcPts val="635"/>
                        </a:spcBef>
                      </a:pPr>
                      <a:r>
                        <a:rPr lang="en-US" sz="1050">
                          <a:latin typeface="Slate Pro" panose="02000506040000020004" pitchFamily="2" charset="0"/>
                          <a:cs typeface="Arial"/>
                          <a:sym typeface="Slate Pro" panose="02000506040000020004" pitchFamily="2" charset="0"/>
                        </a:rPr>
                        <a:t>$10,000</a:t>
                      </a:r>
                      <a:endParaRPr sz="1050">
                        <a:latin typeface="Slate Pro" panose="02000506040000020004" pitchFamily="2" charset="0"/>
                        <a:cs typeface="Arial"/>
                        <a:sym typeface="Slate Pro" panose="02000506040000020004" pitchFamily="2" charset="0"/>
                      </a:endParaRPr>
                    </a:p>
                  </a:txBody>
                  <a:tcPr marL="0" marR="0" marT="80645" marB="0">
                    <a:lnT w="6350">
                      <a:solidFill>
                        <a:srgbClr val="868A8C"/>
                      </a:solidFill>
                      <a:prstDash val="solid"/>
                    </a:lnT>
                    <a:lnB w="6350">
                      <a:solidFill>
                        <a:srgbClr val="868A8C"/>
                      </a:solidFill>
                      <a:prstDash val="solid"/>
                    </a:lnB>
                  </a:tcPr>
                </a:tc>
                <a:tc>
                  <a:txBody>
                    <a:bodyPr/>
                    <a:lstStyle/>
                    <a:p>
                      <a:pPr algn="ctr">
                        <a:lnSpc>
                          <a:spcPct val="100000"/>
                        </a:lnSpc>
                        <a:spcBef>
                          <a:spcPts val="635"/>
                        </a:spcBef>
                      </a:pPr>
                      <a:r>
                        <a:rPr lang="en-US" sz="1050" dirty="0">
                          <a:latin typeface="Slate Pro" panose="02000506040000020004" pitchFamily="2" charset="0"/>
                          <a:cs typeface="Arial"/>
                          <a:sym typeface="Slate Pro" panose="02000506040000020004" pitchFamily="2" charset="0"/>
                        </a:rPr>
                        <a:t>$10,000</a:t>
                      </a:r>
                      <a:endParaRPr sz="1050" dirty="0">
                        <a:latin typeface="Slate Pro" panose="02000506040000020004" pitchFamily="2" charset="0"/>
                        <a:cs typeface="Arial"/>
                        <a:sym typeface="Slate Pro" panose="02000506040000020004" pitchFamily="2" charset="0"/>
                      </a:endParaRPr>
                    </a:p>
                  </a:txBody>
                  <a:tcPr marL="0" marR="0" marT="80645" marB="0">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2" name="Rectangle 21">
            <a:extLst>
              <a:ext uri="{FF2B5EF4-FFF2-40B4-BE49-F238E27FC236}">
                <a16:creationId xmlns:a16="http://schemas.microsoft.com/office/drawing/2014/main" id="{0A0FB052-B84B-4152-5602-C175EE327571}"/>
              </a:ext>
            </a:extLst>
          </p:cNvPr>
          <p:cNvSpPr/>
          <p:nvPr/>
        </p:nvSpPr>
        <p:spPr>
          <a:xfrm>
            <a:off x="5834743" y="1264978"/>
            <a:ext cx="1817914" cy="2163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algn="ctr"/>
            <a:r>
              <a:rPr lang="en-US" sz="1400" dirty="0">
                <a:latin typeface="Slate Pro" panose="02000506040000020004" pitchFamily="2" charset="0"/>
                <a:sym typeface="Slate Pro" panose="02000506040000020004" pitchFamily="2" charset="0"/>
              </a:rPr>
              <a:t>Large Market</a:t>
            </a:r>
          </a:p>
        </p:txBody>
      </p:sp>
      <p:sp>
        <p:nvSpPr>
          <p:cNvPr id="27" name="Rectangle 26">
            <a:extLst>
              <a:ext uri="{FF2B5EF4-FFF2-40B4-BE49-F238E27FC236}">
                <a16:creationId xmlns:a16="http://schemas.microsoft.com/office/drawing/2014/main" id="{08255842-ECD1-64DC-BDE8-3EFF09FCF8D1}"/>
              </a:ext>
            </a:extLst>
          </p:cNvPr>
          <p:cNvSpPr/>
          <p:nvPr/>
        </p:nvSpPr>
        <p:spPr>
          <a:xfrm>
            <a:off x="7997062" y="1264978"/>
            <a:ext cx="1817914" cy="2163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algn="ctr"/>
            <a:r>
              <a:rPr lang="en-US" sz="1400">
                <a:latin typeface="Slate Pro" panose="02000506040000020004" pitchFamily="2" charset="0"/>
                <a:sym typeface="Slate Pro" panose="02000506040000020004" pitchFamily="2" charset="0"/>
              </a:rPr>
              <a:t>Small Market</a:t>
            </a:r>
          </a:p>
        </p:txBody>
      </p:sp>
      <p:sp>
        <p:nvSpPr>
          <p:cNvPr id="4" name="Holder 4">
            <a:extLst>
              <a:ext uri="{FF2B5EF4-FFF2-40B4-BE49-F238E27FC236}">
                <a16:creationId xmlns:a16="http://schemas.microsoft.com/office/drawing/2014/main" id="{ABBB0644-7642-8981-CABA-77A81C5680FD}"/>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8" name="Group 7">
            <a:extLst>
              <a:ext uri="{FF2B5EF4-FFF2-40B4-BE49-F238E27FC236}">
                <a16:creationId xmlns:a16="http://schemas.microsoft.com/office/drawing/2014/main" id="{FDC0B2B7-1F6E-68C7-B3B2-679D89EAD28F}"/>
              </a:ext>
            </a:extLst>
          </p:cNvPr>
          <p:cNvGrpSpPr/>
          <p:nvPr/>
        </p:nvGrpSpPr>
        <p:grpSpPr>
          <a:xfrm>
            <a:off x="157427" y="7205390"/>
            <a:ext cx="2416310" cy="276999"/>
            <a:chOff x="157428" y="7205390"/>
            <a:chExt cx="2132373" cy="276999"/>
          </a:xfrm>
        </p:grpSpPr>
        <p:sp>
          <p:nvSpPr>
            <p:cNvPr id="10" name="TextBox 9">
              <a:hlinkClick r:id="rId6" action="ppaction://hlinksldjump"/>
              <a:extLst>
                <a:ext uri="{FF2B5EF4-FFF2-40B4-BE49-F238E27FC236}">
                  <a16:creationId xmlns:a16="http://schemas.microsoft.com/office/drawing/2014/main" id="{82EA5C06-3DB3-669E-F052-4449980A3374}"/>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4" name="Arrow: Right 13">
              <a:extLst>
                <a:ext uri="{FF2B5EF4-FFF2-40B4-BE49-F238E27FC236}">
                  <a16:creationId xmlns:a16="http://schemas.microsoft.com/office/drawing/2014/main" id="{938D6784-7419-1AD6-2FBB-BD3EAC9F51C6}"/>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B23BAF-58A9-DBF3-2E9B-D2C3836C5DE3}"/>
              </a:ext>
            </a:extLst>
          </p:cNvPr>
          <p:cNvGraphicFramePr>
            <a:graphicFrameLocks noChangeAspect="1"/>
          </p:cNvGraphicFramePr>
          <p:nvPr>
            <p:custDataLst>
              <p:tags r:id="rId1"/>
            </p:custDataLst>
            <p:extLst>
              <p:ext uri="{D42A27DB-BD31-4B8C-83A1-F6EECF244321}">
                <p14:modId xmlns:p14="http://schemas.microsoft.com/office/powerpoint/2010/main" val="186784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2" name="Object 21" hidden="1">
                        <a:extLst>
                          <a:ext uri="{FF2B5EF4-FFF2-40B4-BE49-F238E27FC236}">
                            <a16:creationId xmlns:a16="http://schemas.microsoft.com/office/drawing/2014/main" id="{92B23BAF-58A9-DBF3-2E9B-D2C3836C5D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object 5"/>
          <p:cNvSpPr/>
          <p:nvPr/>
        </p:nvSpPr>
        <p:spPr>
          <a:xfrm>
            <a:off x="-5449" y="-20856"/>
            <a:ext cx="5346702" cy="7137400"/>
          </a:xfrm>
          <a:custGeom>
            <a:avLst/>
            <a:gdLst/>
            <a:ahLst/>
            <a:cxnLst/>
            <a:rect l="l" t="t" r="r" b="b"/>
            <a:pathLst>
              <a:path w="5910580" h="7137400">
                <a:moveTo>
                  <a:pt x="5909995" y="0"/>
                </a:moveTo>
                <a:lnTo>
                  <a:pt x="0" y="0"/>
                </a:lnTo>
                <a:lnTo>
                  <a:pt x="0" y="7137005"/>
                </a:lnTo>
                <a:lnTo>
                  <a:pt x="5909995" y="7137005"/>
                </a:lnTo>
                <a:lnTo>
                  <a:pt x="5909995" y="0"/>
                </a:lnTo>
                <a:close/>
              </a:path>
            </a:pathLst>
          </a:custGeom>
          <a:solidFill>
            <a:srgbClr val="4D4F56"/>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7" name="object 7"/>
          <p:cNvSpPr txBox="1"/>
          <p:nvPr/>
        </p:nvSpPr>
        <p:spPr>
          <a:xfrm>
            <a:off x="496025" y="1029408"/>
            <a:ext cx="4121146" cy="1753493"/>
          </a:xfrm>
          <a:prstGeom prst="rect">
            <a:avLst/>
          </a:prstGeom>
        </p:spPr>
        <p:txBody>
          <a:bodyPr vert="horz" wrap="square" lIns="0" tIns="12700" rIns="0" bIns="0" rtlCol="0">
            <a:spAutoFit/>
          </a:bodyPr>
          <a:lstStyle/>
          <a:p>
            <a:pPr marL="12700" marR="5080" algn="l">
              <a:lnSpc>
                <a:spcPct val="117400"/>
              </a:lnSpc>
              <a:spcBef>
                <a:spcPts val="100"/>
              </a:spcBef>
            </a:pPr>
            <a:r>
              <a:rPr lang="en-US" sz="1400" dirty="0">
                <a:solidFill>
                  <a:srgbClr val="FFFFFF"/>
                </a:solidFill>
                <a:latin typeface="Slate Pro" panose="02000506040000020004" pitchFamily="2" charset="0"/>
                <a:cs typeface="Trebuchet MS"/>
                <a:sym typeface="Slate Pro" panose="02000506040000020004" pitchFamily="2" charset="0"/>
              </a:rPr>
              <a:t>ACME mandates all Partner-sourced opportunities follow the deal registration process. Deal registration will provide 5% incentive to Partners for every registered deal that is closed, in addition to other deal closure incentives. Once a deal is reviewed by the ACME Partner Team and registration is granted, a Partner may pursue the opportunity.</a:t>
            </a:r>
          </a:p>
        </p:txBody>
      </p:sp>
      <p:pic>
        <p:nvPicPr>
          <p:cNvPr id="20" name="Picture 19" descr="Filling out forms on a table">
            <a:extLst>
              <a:ext uri="{FF2B5EF4-FFF2-40B4-BE49-F238E27FC236}">
                <a16:creationId xmlns:a16="http://schemas.microsoft.com/office/drawing/2014/main" id="{1F65E816-368D-0ACB-6BA3-7DAF9833C6B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5341253" y="-21092"/>
            <a:ext cx="5352147" cy="7137398"/>
          </a:xfrm>
          <a:prstGeom prst="rect">
            <a:avLst/>
          </a:prstGeom>
        </p:spPr>
      </p:pic>
      <p:sp>
        <p:nvSpPr>
          <p:cNvPr id="8" name="object 8"/>
          <p:cNvSpPr txBox="1">
            <a:spLocks noGrp="1"/>
          </p:cNvSpPr>
          <p:nvPr>
            <p:ph type="title"/>
          </p:nvPr>
        </p:nvSpPr>
        <p:spPr>
          <a:xfrm>
            <a:off x="500300" y="402606"/>
            <a:ext cx="4595495" cy="505267"/>
          </a:xfrm>
          <a:prstGeom prst="rect">
            <a:avLst/>
          </a:prstGeom>
        </p:spPr>
        <p:txBody>
          <a:bodyPr vert="horz" wrap="square" lIns="0" tIns="12700" rIns="0" bIns="0" rtlCol="0">
            <a:spAutoFit/>
          </a:bodyPr>
          <a:lstStyle/>
          <a:p>
            <a:pPr marL="12700">
              <a:spcBef>
                <a:spcPts val="100"/>
              </a:spcBef>
            </a:pPr>
            <a:r>
              <a:rPr lang="en-US" sz="3200" dirty="0">
                <a:solidFill>
                  <a:srgbClr val="FFFFFF"/>
                </a:solidFill>
              </a:rPr>
              <a:t>Deal Registration</a:t>
            </a:r>
            <a:endParaRPr sz="3200" dirty="0">
              <a:solidFill>
                <a:srgbClr val="FFFFFF"/>
              </a:solidFill>
            </a:endParaRPr>
          </a:p>
        </p:txBody>
      </p:sp>
      <p:sp>
        <p:nvSpPr>
          <p:cNvPr id="9" name="object 9"/>
          <p:cNvSpPr txBox="1"/>
          <p:nvPr/>
        </p:nvSpPr>
        <p:spPr>
          <a:xfrm>
            <a:off x="549939" y="3358385"/>
            <a:ext cx="3279113" cy="289823"/>
          </a:xfrm>
          <a:prstGeom prst="rect">
            <a:avLst/>
          </a:prstGeom>
        </p:spPr>
        <p:txBody>
          <a:bodyPr vert="horz" wrap="square" lIns="0" tIns="12700" rIns="0" bIns="0" rtlCol="0">
            <a:spAutoFit/>
          </a:bodyPr>
          <a:lstStyle/>
          <a:p>
            <a:pPr marL="12700">
              <a:spcBef>
                <a:spcPts val="100"/>
              </a:spcBef>
            </a:pPr>
            <a:r>
              <a:rPr lang="en-US" b="1" spc="-45" dirty="0">
                <a:solidFill>
                  <a:srgbClr val="FF8800"/>
                </a:solidFill>
                <a:latin typeface="Slate Pro" panose="02000506040000020004" pitchFamily="2" charset="0"/>
                <a:cs typeface="Arial"/>
                <a:sym typeface="Slate Pro" panose="02000506040000020004" pitchFamily="2" charset="0"/>
              </a:rPr>
              <a:t>Deal Registration Overview</a:t>
            </a:r>
            <a:endParaRPr lang="en-US" dirty="0">
              <a:solidFill>
                <a:srgbClr val="FF8800"/>
              </a:solidFill>
              <a:latin typeface="Slate Pro" panose="02000506040000020004" pitchFamily="2" charset="0"/>
              <a:cs typeface="Arial"/>
              <a:sym typeface="Slate Pro" panose="02000506040000020004" pitchFamily="2" charset="0"/>
            </a:endParaRPr>
          </a:p>
        </p:txBody>
      </p:sp>
      <p:sp>
        <p:nvSpPr>
          <p:cNvPr id="21" name="object 21"/>
          <p:cNvSpPr txBox="1"/>
          <p:nvPr/>
        </p:nvSpPr>
        <p:spPr>
          <a:xfrm>
            <a:off x="-158256" y="4115025"/>
            <a:ext cx="4797701" cy="247184"/>
          </a:xfrm>
          <a:prstGeom prst="rect">
            <a:avLst/>
          </a:prstGeom>
        </p:spPr>
        <p:txBody>
          <a:bodyPr vert="horz" wrap="square" lIns="0" tIns="12700" rIns="0" bIns="0" rtlCol="0">
            <a:spAutoFit/>
          </a:bodyPr>
          <a:lstStyle/>
          <a:p>
            <a:pPr marL="184150" marR="5080" indent="-171450">
              <a:lnSpc>
                <a:spcPct val="117400"/>
              </a:lnSpc>
              <a:spcBef>
                <a:spcPts val="100"/>
              </a:spcBef>
              <a:buFont typeface="Wingdings" panose="05000000000000000000" pitchFamily="2" charset="2"/>
              <a:buChar char="§"/>
            </a:pPr>
            <a:endParaRPr sz="1400">
              <a:latin typeface="Slate Pro" panose="02000506040000020004" pitchFamily="2" charset="0"/>
              <a:cs typeface="Trebuchet MS"/>
              <a:sym typeface="Slate Pro" panose="02000506040000020004" pitchFamily="2" charset="0"/>
            </a:endParaRPr>
          </a:p>
        </p:txBody>
      </p:sp>
      <p:sp>
        <p:nvSpPr>
          <p:cNvPr id="23" name="object 23"/>
          <p:cNvSpPr txBox="1"/>
          <p:nvPr/>
        </p:nvSpPr>
        <p:spPr>
          <a:xfrm>
            <a:off x="-158257" y="4708799"/>
            <a:ext cx="4775428" cy="247184"/>
          </a:xfrm>
          <a:prstGeom prst="rect">
            <a:avLst/>
          </a:prstGeom>
        </p:spPr>
        <p:txBody>
          <a:bodyPr vert="horz" wrap="square" lIns="0" tIns="12700" rIns="0" bIns="0" rtlCol="0">
            <a:spAutoFit/>
          </a:bodyPr>
          <a:lstStyle/>
          <a:p>
            <a:pPr marL="183515" marR="5080" indent="-171450">
              <a:lnSpc>
                <a:spcPct val="117400"/>
              </a:lnSpc>
              <a:spcBef>
                <a:spcPts val="100"/>
              </a:spcBef>
              <a:buFont typeface="Wingdings" panose="05000000000000000000" pitchFamily="2" charset="2"/>
              <a:buChar char="§"/>
            </a:pPr>
            <a:endParaRPr sz="1400">
              <a:latin typeface="Slate Pro" panose="02000506040000020004" pitchFamily="2" charset="0"/>
              <a:cs typeface="Trebuchet MS"/>
              <a:sym typeface="Slate Pro" panose="02000506040000020004" pitchFamily="2" charset="0"/>
            </a:endParaRPr>
          </a:p>
        </p:txBody>
      </p:sp>
      <p:sp>
        <p:nvSpPr>
          <p:cNvPr id="80" name="object 80"/>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5</a:t>
            </a:fld>
            <a:endParaRPr spc="-25"/>
          </a:p>
        </p:txBody>
      </p:sp>
      <p:sp>
        <p:nvSpPr>
          <p:cNvPr id="14" name="Holder 4">
            <a:extLst>
              <a:ext uri="{FF2B5EF4-FFF2-40B4-BE49-F238E27FC236}">
                <a16:creationId xmlns:a16="http://schemas.microsoft.com/office/drawing/2014/main" id="{8BF01342-C856-E5D5-DB0D-938B19880497}"/>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sp>
        <p:nvSpPr>
          <p:cNvPr id="3" name="object 11">
            <a:extLst>
              <a:ext uri="{FF2B5EF4-FFF2-40B4-BE49-F238E27FC236}">
                <a16:creationId xmlns:a16="http://schemas.microsoft.com/office/drawing/2014/main" id="{C4B852D3-7D5C-45FD-0043-CC445FA9F0AD}"/>
              </a:ext>
            </a:extLst>
          </p:cNvPr>
          <p:cNvSpPr txBox="1"/>
          <p:nvPr/>
        </p:nvSpPr>
        <p:spPr>
          <a:xfrm>
            <a:off x="539670" y="3913463"/>
            <a:ext cx="4099774" cy="2687091"/>
          </a:xfrm>
          <a:prstGeom prst="rect">
            <a:avLst/>
          </a:prstGeom>
        </p:spPr>
        <p:txBody>
          <a:bodyPr vert="horz" wrap="square" lIns="0" tIns="12700" rIns="0" bIns="0" rtlCol="0">
            <a:noAutofit/>
          </a:bodyPr>
          <a:lstStyle/>
          <a:p>
            <a:pPr marL="298450" indent="-285750">
              <a:lnSpc>
                <a:spcPct val="110000"/>
              </a:lnSpc>
              <a:spcBef>
                <a:spcPts val="600"/>
              </a:spcBef>
              <a:spcAft>
                <a:spcPts val="600"/>
              </a:spcAft>
              <a:buFont typeface="Wingdings" panose="05000000000000000000" pitchFamily="2" charset="2"/>
              <a:buChar char="Ø"/>
            </a:pPr>
            <a:r>
              <a:rPr lang="en-US" sz="1400" spc="-40" dirty="0">
                <a:solidFill>
                  <a:srgbClr val="FFFFFF"/>
                </a:solidFill>
                <a:latin typeface="Slate Pro" panose="02000506040000020004" pitchFamily="2" charset="0"/>
                <a:cs typeface="Trebuchet MS"/>
                <a:sym typeface="Slate Pro" panose="02000506040000020004" pitchFamily="2" charset="0"/>
              </a:rPr>
              <a:t>Registration benefits are available to all Partners.</a:t>
            </a:r>
          </a:p>
          <a:p>
            <a:pPr marL="298450" indent="-285750">
              <a:lnSpc>
                <a:spcPct val="110000"/>
              </a:lnSpc>
              <a:spcBef>
                <a:spcPts val="600"/>
              </a:spcBef>
              <a:spcAft>
                <a:spcPts val="600"/>
              </a:spcAft>
              <a:buFont typeface="Wingdings" panose="05000000000000000000" pitchFamily="2" charset="2"/>
              <a:buChar char="Ø"/>
            </a:pPr>
            <a:r>
              <a:rPr lang="en-US" sz="1400" spc="-45" dirty="0">
                <a:solidFill>
                  <a:srgbClr val="FFFFFF"/>
                </a:solidFill>
                <a:latin typeface="Slate Pro" panose="02000506040000020004" pitchFamily="2" charset="0"/>
                <a:cs typeface="Trebuchet MS"/>
                <a:sym typeface="Slate Pro" panose="02000506040000020004" pitchFamily="2" charset="0"/>
              </a:rPr>
              <a:t>Registration is valid for </a:t>
            </a:r>
            <a:r>
              <a:rPr lang="en-US" sz="1400" spc="-45" dirty="0">
                <a:solidFill>
                  <a:schemeClr val="bg1"/>
                </a:solidFill>
                <a:latin typeface="Slate Pro" panose="02000506040000020004" pitchFamily="2" charset="0"/>
                <a:cs typeface="Trebuchet MS"/>
                <a:sym typeface="Slate Pro" panose="02000506040000020004" pitchFamily="2" charset="0"/>
              </a:rPr>
              <a:t>two quarters</a:t>
            </a:r>
            <a:r>
              <a:rPr lang="en-US" sz="1400" spc="-45" dirty="0">
                <a:solidFill>
                  <a:srgbClr val="FFFFFF"/>
                </a:solidFill>
                <a:latin typeface="Slate Pro" panose="02000506040000020004" pitchFamily="2" charset="0"/>
                <a:cs typeface="Trebuchet MS"/>
                <a:sym typeface="Slate Pro" panose="02000506040000020004" pitchFamily="2" charset="0"/>
              </a:rPr>
              <a:t>, starting with the quarter it is granted in.</a:t>
            </a:r>
          </a:p>
          <a:p>
            <a:pPr marL="298450" indent="-285750">
              <a:lnSpc>
                <a:spcPct val="110000"/>
              </a:lnSpc>
              <a:spcBef>
                <a:spcPts val="600"/>
              </a:spcBef>
              <a:spcAft>
                <a:spcPts val="600"/>
              </a:spcAft>
              <a:buFont typeface="Wingdings" panose="05000000000000000000" pitchFamily="2" charset="2"/>
              <a:buChar char="Ø"/>
            </a:pPr>
            <a:r>
              <a:rPr lang="en-US" sz="1400" spc="-5" dirty="0">
                <a:solidFill>
                  <a:srgbClr val="FFFFFF"/>
                </a:solidFill>
                <a:latin typeface="Slate Pro" panose="02000506040000020004" pitchFamily="2" charset="0"/>
                <a:cs typeface="Trebuchet MS"/>
                <a:sym typeface="Slate Pro" panose="02000506040000020004" pitchFamily="2" charset="0"/>
              </a:rPr>
              <a:t>Registration is approved by the designated ACME Partner Manager.</a:t>
            </a:r>
          </a:p>
          <a:p>
            <a:pPr marL="298450" indent="-285750">
              <a:lnSpc>
                <a:spcPct val="110000"/>
              </a:lnSpc>
              <a:spcBef>
                <a:spcPts val="600"/>
              </a:spcBef>
              <a:spcAft>
                <a:spcPts val="600"/>
              </a:spcAft>
              <a:buFont typeface="Wingdings" panose="05000000000000000000" pitchFamily="2" charset="2"/>
              <a:buChar char="Ø"/>
            </a:pPr>
            <a:r>
              <a:rPr lang="en-US" sz="1400" spc="-25" dirty="0">
                <a:solidFill>
                  <a:srgbClr val="FFFFFF"/>
                </a:solidFill>
                <a:latin typeface="Slate Pro" panose="02000506040000020004" pitchFamily="2" charset="0"/>
                <a:cs typeface="Trebuchet MS"/>
                <a:sym typeface="Slate Pro" panose="02000506040000020004" pitchFamily="2" charset="0"/>
              </a:rPr>
              <a:t>Registration is granted on an opportunity and not account basis.</a:t>
            </a:r>
          </a:p>
          <a:p>
            <a:pPr marL="298450" indent="-285750">
              <a:lnSpc>
                <a:spcPct val="110000"/>
              </a:lnSpc>
              <a:spcBef>
                <a:spcPts val="600"/>
              </a:spcBef>
              <a:spcAft>
                <a:spcPts val="600"/>
              </a:spcAft>
              <a:buFont typeface="Wingdings" panose="05000000000000000000" pitchFamily="2" charset="2"/>
              <a:buChar char="Ø"/>
            </a:pPr>
            <a:r>
              <a:rPr lang="en-US" sz="1400" spc="-40" dirty="0">
                <a:solidFill>
                  <a:srgbClr val="FFFFFF"/>
                </a:solidFill>
                <a:latin typeface="Slate Pro" panose="02000506040000020004" pitchFamily="2" charset="0"/>
                <a:cs typeface="Trebuchet MS"/>
                <a:sym typeface="Slate Pro" panose="02000506040000020004" pitchFamily="2" charset="0"/>
              </a:rPr>
              <a:t>Registration is requested through the </a:t>
            </a:r>
            <a:r>
              <a:rPr lang="en-US" sz="1400" spc="-40" dirty="0">
                <a:solidFill>
                  <a:schemeClr val="bg1"/>
                </a:solidFill>
                <a:latin typeface="Slate Pro" panose="02000506040000020004" pitchFamily="2" charset="0"/>
                <a:cs typeface="Trebuchet MS"/>
                <a:sym typeface="Slate Pro" panose="02000506040000020004" pitchFamily="2" charset="0"/>
              </a:rPr>
              <a:t>ACME Deal Registration Portal.</a:t>
            </a:r>
            <a:endParaRPr lang="en-US" sz="1400" dirty="0">
              <a:solidFill>
                <a:schemeClr val="bg1"/>
              </a:solidFill>
              <a:latin typeface="Slate Pro" panose="02000506040000020004" pitchFamily="2" charset="0"/>
              <a:cs typeface="Trebuchet MS"/>
              <a:sym typeface="Slate Pro" panose="02000506040000020004" pitchFamily="2" charset="0"/>
            </a:endParaRPr>
          </a:p>
          <a:p>
            <a:pPr marL="298450" indent="-285750">
              <a:spcBef>
                <a:spcPts val="1200"/>
              </a:spcBef>
              <a:buFont typeface="Wingdings" panose="05000000000000000000" pitchFamily="2" charset="2"/>
              <a:buChar char="Ø"/>
            </a:pPr>
            <a:endParaRPr sz="1600" dirty="0">
              <a:latin typeface="Slate Pro" panose="02000506040000020004" pitchFamily="2" charset="0"/>
              <a:cs typeface="Trebuchet MS"/>
              <a:sym typeface="Slate Pro" panose="02000506040000020004" pitchFamily="2" charset="0"/>
            </a:endParaRPr>
          </a:p>
        </p:txBody>
      </p:sp>
      <p:sp>
        <p:nvSpPr>
          <p:cNvPr id="25" name="object 25"/>
          <p:cNvSpPr/>
          <p:nvPr/>
        </p:nvSpPr>
        <p:spPr>
          <a:xfrm>
            <a:off x="485282" y="2989767"/>
            <a:ext cx="4318072" cy="45719"/>
          </a:xfrm>
          <a:custGeom>
            <a:avLst/>
            <a:gdLst/>
            <a:ahLst/>
            <a:cxnLst/>
            <a:rect l="l" t="t" r="r" b="b"/>
            <a:pathLst>
              <a:path w="4653280">
                <a:moveTo>
                  <a:pt x="0" y="0"/>
                </a:moveTo>
                <a:lnTo>
                  <a:pt x="4652995" y="0"/>
                </a:lnTo>
              </a:path>
            </a:pathLst>
          </a:custGeom>
          <a:ln w="634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673553E4-3E40-B134-5AA3-2D5BB644A107}"/>
              </a:ext>
            </a:extLst>
          </p:cNvPr>
          <p:cNvGrpSpPr/>
          <p:nvPr/>
        </p:nvGrpSpPr>
        <p:grpSpPr>
          <a:xfrm>
            <a:off x="157427" y="7205390"/>
            <a:ext cx="2416310" cy="276999"/>
            <a:chOff x="157428" y="7205390"/>
            <a:chExt cx="2132373" cy="276999"/>
          </a:xfrm>
        </p:grpSpPr>
        <p:sp>
          <p:nvSpPr>
            <p:cNvPr id="11" name="TextBox 10">
              <a:hlinkClick r:id="rId7" action="ppaction://hlinksldjump"/>
              <a:extLst>
                <a:ext uri="{FF2B5EF4-FFF2-40B4-BE49-F238E27FC236}">
                  <a16:creationId xmlns:a16="http://schemas.microsoft.com/office/drawing/2014/main" id="{FE6AF8B4-F3B2-864A-905F-978CC2FEC296}"/>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3" name="Arrow: Right 12">
              <a:extLst>
                <a:ext uri="{FF2B5EF4-FFF2-40B4-BE49-F238E27FC236}">
                  <a16:creationId xmlns:a16="http://schemas.microsoft.com/office/drawing/2014/main" id="{435E3028-C830-4271-F04B-A23B5A75E201}"/>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179B6E9-5760-21B9-4ABA-BE5561BADBBB}"/>
              </a:ext>
            </a:extLst>
          </p:cNvPr>
          <p:cNvGraphicFramePr>
            <a:graphicFrameLocks noChangeAspect="1"/>
          </p:cNvGraphicFramePr>
          <p:nvPr>
            <p:custDataLst>
              <p:tags r:id="rId1"/>
            </p:custDataLst>
            <p:extLst>
              <p:ext uri="{D42A27DB-BD31-4B8C-83A1-F6EECF244321}">
                <p14:modId xmlns:p14="http://schemas.microsoft.com/office/powerpoint/2010/main" val="2345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 name="Object 18" hidden="1">
                        <a:extLst>
                          <a:ext uri="{FF2B5EF4-FFF2-40B4-BE49-F238E27FC236}">
                            <a16:creationId xmlns:a16="http://schemas.microsoft.com/office/drawing/2014/main" id="{B179B6E9-5760-21B9-4ABA-BE5561BADB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bject 7"/>
          <p:cNvSpPr txBox="1">
            <a:spLocks noGrp="1"/>
          </p:cNvSpPr>
          <p:nvPr>
            <p:ph type="title"/>
          </p:nvPr>
        </p:nvSpPr>
        <p:spPr>
          <a:xfrm>
            <a:off x="506301" y="406473"/>
            <a:ext cx="3788903"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Resources For Partners </a:t>
            </a:r>
          </a:p>
        </p:txBody>
      </p:sp>
      <p:sp>
        <p:nvSpPr>
          <p:cNvPr id="17" name="object 17"/>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6</a:t>
            </a:fld>
            <a:endParaRPr spc="-25"/>
          </a:p>
        </p:txBody>
      </p:sp>
      <p:sp>
        <p:nvSpPr>
          <p:cNvPr id="22" name="object 12">
            <a:extLst>
              <a:ext uri="{FF2B5EF4-FFF2-40B4-BE49-F238E27FC236}">
                <a16:creationId xmlns:a16="http://schemas.microsoft.com/office/drawing/2014/main" id="{B611568D-C751-4127-51CC-F1169782A48A}"/>
              </a:ext>
            </a:extLst>
          </p:cNvPr>
          <p:cNvSpPr/>
          <p:nvPr/>
        </p:nvSpPr>
        <p:spPr>
          <a:xfrm>
            <a:off x="201554" y="190947"/>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3" name="object 13">
            <a:extLst>
              <a:ext uri="{FF2B5EF4-FFF2-40B4-BE49-F238E27FC236}">
                <a16:creationId xmlns:a16="http://schemas.microsoft.com/office/drawing/2014/main" id="{D5785A38-50A5-09E0-6F7F-A96EF77E7255}"/>
              </a:ext>
            </a:extLst>
          </p:cNvPr>
          <p:cNvSpPr/>
          <p:nvPr/>
        </p:nvSpPr>
        <p:spPr>
          <a:xfrm>
            <a:off x="201554" y="265113"/>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4" name="object 14">
            <a:extLst>
              <a:ext uri="{FF2B5EF4-FFF2-40B4-BE49-F238E27FC236}">
                <a16:creationId xmlns:a16="http://schemas.microsoft.com/office/drawing/2014/main" id="{804BB7A6-8460-F4D1-4629-9A6F1BB28B49}"/>
              </a:ext>
            </a:extLst>
          </p:cNvPr>
          <p:cNvSpPr/>
          <p:nvPr/>
        </p:nvSpPr>
        <p:spPr>
          <a:xfrm>
            <a:off x="201554" y="343640"/>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 name="object 9">
            <a:extLst>
              <a:ext uri="{FF2B5EF4-FFF2-40B4-BE49-F238E27FC236}">
                <a16:creationId xmlns:a16="http://schemas.microsoft.com/office/drawing/2014/main" id="{58503AA5-26F6-585F-D8F0-1F4B96F4BDEA}"/>
              </a:ext>
            </a:extLst>
          </p:cNvPr>
          <p:cNvSpPr txBox="1"/>
          <p:nvPr/>
        </p:nvSpPr>
        <p:spPr>
          <a:xfrm>
            <a:off x="506301" y="2295036"/>
            <a:ext cx="4452199" cy="3713132"/>
          </a:xfrm>
          <a:prstGeom prst="rect">
            <a:avLst/>
          </a:prstGeom>
        </p:spPr>
        <p:txBody>
          <a:bodyPr vert="horz" wrap="square" lIns="0" tIns="20320" rIns="0" bIns="0" rtlCol="0">
            <a:spAutoFit/>
          </a:bodyPr>
          <a:lstStyle/>
          <a:p>
            <a:pPr marL="12700" marR="5080">
              <a:lnSpc>
                <a:spcPct val="110000"/>
              </a:lnSpc>
              <a:spcBef>
                <a:spcPts val="1200"/>
              </a:spcBef>
            </a:pPr>
            <a:r>
              <a:rPr lang="en-US" sz="1200" dirty="0">
                <a:latin typeface="Slate Pro" panose="02000506040000020004" pitchFamily="2" charset="0"/>
                <a:cs typeface="Arial"/>
                <a:sym typeface="Slate Pro" panose="02000506040000020004" pitchFamily="2" charset="0"/>
              </a:rPr>
              <a:t>The ACME Partner Program offers much more than just sales incentives to its valued Partners. We understand that to be an effective Partner means having the awareness, reach, skills, knowledge, and know-how to successfully demo, sell, implement, and solution ACME products to and for customers.</a:t>
            </a:r>
          </a:p>
          <a:p>
            <a:pPr marL="12700" marR="5080">
              <a:lnSpc>
                <a:spcPct val="110000"/>
              </a:lnSpc>
              <a:spcBef>
                <a:spcPts val="1200"/>
              </a:spcBef>
            </a:pPr>
            <a:r>
              <a:rPr lang="en-US" sz="1200" dirty="0">
                <a:latin typeface="Slate Pro" panose="02000506040000020004" pitchFamily="2" charset="0"/>
                <a:cs typeface="Arial"/>
                <a:sym typeface="Slate Pro" panose="02000506040000020004" pitchFamily="2" charset="0"/>
              </a:rPr>
              <a:t>Partners will be kept abreast of all Partner-relevant news through communications and bulletins, and they’ll have a chance to share collaborative feedback through roundtables.</a:t>
            </a:r>
          </a:p>
          <a:p>
            <a:pPr marL="12700" marR="5080">
              <a:lnSpc>
                <a:spcPct val="110000"/>
              </a:lnSpc>
              <a:spcBef>
                <a:spcPts val="1200"/>
              </a:spcBef>
            </a:pPr>
            <a:r>
              <a:rPr lang="en-US" sz="1200" dirty="0">
                <a:latin typeface="Slate Pro" panose="02000506040000020004" pitchFamily="2" charset="0"/>
                <a:cs typeface="Arial"/>
                <a:sym typeface="Slate Pro" panose="02000506040000020004" pitchFamily="2" charset="0"/>
              </a:rPr>
              <a:t>Marketing collateral is available to help you spread awareness of ACME products and your own brand, enabling you to reach and win new customers.</a:t>
            </a:r>
          </a:p>
          <a:p>
            <a:pPr marL="12700" marR="5080">
              <a:lnSpc>
                <a:spcPct val="110000"/>
              </a:lnSpc>
              <a:spcBef>
                <a:spcPts val="1200"/>
              </a:spcBef>
            </a:pPr>
            <a:r>
              <a:rPr lang="en-US" sz="1200" dirty="0">
                <a:latin typeface="Slate Pro" panose="02000506040000020004" pitchFamily="2" charset="0"/>
                <a:cs typeface="Arial"/>
                <a:sym typeface="Slate Pro" panose="02000506040000020004" pitchFamily="2" charset="0"/>
              </a:rPr>
              <a:t>ACME offers comprehensive pre-sales, sales, and technical certification training to all its partners. In addition to paid learning, ACME furnishes Partners with 24/7 access to enablement to ensure your sellers and engineers can keep their skills sharp and grow their ACME product knowledge.</a:t>
            </a:r>
          </a:p>
        </p:txBody>
      </p:sp>
      <p:sp>
        <p:nvSpPr>
          <p:cNvPr id="5" name="TextBox 4">
            <a:extLst>
              <a:ext uri="{FF2B5EF4-FFF2-40B4-BE49-F238E27FC236}">
                <a16:creationId xmlns:a16="http://schemas.microsoft.com/office/drawing/2014/main" id="{37FE71BE-6BB1-4976-7DAC-3A6424B4CD98}"/>
              </a:ext>
            </a:extLst>
          </p:cNvPr>
          <p:cNvSpPr txBox="1"/>
          <p:nvPr/>
        </p:nvSpPr>
        <p:spPr>
          <a:xfrm>
            <a:off x="506301" y="1554684"/>
            <a:ext cx="3788903" cy="509563"/>
          </a:xfrm>
          <a:prstGeom prst="rect">
            <a:avLst/>
          </a:prstGeom>
          <a:noFill/>
        </p:spPr>
        <p:txBody>
          <a:bodyPr wrap="none" lIns="0" rIns="0">
            <a:noAutofit/>
          </a:bodyPr>
          <a:lstStyle/>
          <a:p>
            <a:pPr marL="12700" marR="1223645" algn="l">
              <a:lnSpc>
                <a:spcPct val="110000"/>
              </a:lnSpc>
            </a:pPr>
            <a:r>
              <a:rPr lang="en-US" b="1" spc="-30" dirty="0">
                <a:latin typeface="Slate Pro" panose="02000506040000020004" pitchFamily="2" charset="0"/>
                <a:cs typeface="Arial"/>
                <a:sym typeface="Slate Pro" panose="02000506040000020004" pitchFamily="2" charset="0"/>
              </a:rPr>
              <a:t>ACME provides partners with a host of </a:t>
            </a:r>
          </a:p>
          <a:p>
            <a:pPr marL="12700" marR="1223645" algn="l">
              <a:lnSpc>
                <a:spcPct val="110000"/>
              </a:lnSpc>
            </a:pPr>
            <a:r>
              <a:rPr lang="en-US" b="1" spc="-30" dirty="0">
                <a:latin typeface="Slate Pro" panose="02000506040000020004" pitchFamily="2" charset="0"/>
                <a:cs typeface="Arial"/>
                <a:sym typeface="Slate Pro" panose="02000506040000020004" pitchFamily="2" charset="0"/>
              </a:rPr>
              <a:t>resources to drive growth.</a:t>
            </a:r>
            <a:endParaRPr lang="en-US" dirty="0">
              <a:latin typeface="Slate Pro" panose="02000506040000020004" pitchFamily="2" charset="0"/>
              <a:cs typeface="Arial"/>
              <a:sym typeface="Slate Pro" panose="02000506040000020004" pitchFamily="2" charset="0"/>
            </a:endParaRPr>
          </a:p>
        </p:txBody>
      </p:sp>
      <p:sp>
        <p:nvSpPr>
          <p:cNvPr id="4" name="Holder 4">
            <a:extLst>
              <a:ext uri="{FF2B5EF4-FFF2-40B4-BE49-F238E27FC236}">
                <a16:creationId xmlns:a16="http://schemas.microsoft.com/office/drawing/2014/main" id="{29F2AE6C-D52D-C869-37B3-1AE5B71B7D21}"/>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pic>
        <p:nvPicPr>
          <p:cNvPr id="9" name="Picture 8" descr="Wooden library">
            <a:extLst>
              <a:ext uri="{FF2B5EF4-FFF2-40B4-BE49-F238E27FC236}">
                <a16:creationId xmlns:a16="http://schemas.microsoft.com/office/drawing/2014/main" id="{BE2CB600-0C0A-12E2-7DF4-D141C27FC89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5346703" y="0"/>
            <a:ext cx="5343285" cy="7068312"/>
          </a:xfrm>
          <a:prstGeom prst="rect">
            <a:avLst/>
          </a:prstGeom>
        </p:spPr>
      </p:pic>
      <p:grpSp>
        <p:nvGrpSpPr>
          <p:cNvPr id="11" name="Group 10">
            <a:extLst>
              <a:ext uri="{FF2B5EF4-FFF2-40B4-BE49-F238E27FC236}">
                <a16:creationId xmlns:a16="http://schemas.microsoft.com/office/drawing/2014/main" id="{8114F044-43DE-149B-6DC4-D87341AFD95F}"/>
              </a:ext>
            </a:extLst>
          </p:cNvPr>
          <p:cNvGrpSpPr/>
          <p:nvPr/>
        </p:nvGrpSpPr>
        <p:grpSpPr>
          <a:xfrm>
            <a:off x="157427" y="7205390"/>
            <a:ext cx="2416310" cy="276999"/>
            <a:chOff x="157428" y="7205390"/>
            <a:chExt cx="2132373" cy="276999"/>
          </a:xfrm>
        </p:grpSpPr>
        <p:sp>
          <p:nvSpPr>
            <p:cNvPr id="12" name="TextBox 11">
              <a:hlinkClick r:id="rId7" action="ppaction://hlinksldjump"/>
              <a:extLst>
                <a:ext uri="{FF2B5EF4-FFF2-40B4-BE49-F238E27FC236}">
                  <a16:creationId xmlns:a16="http://schemas.microsoft.com/office/drawing/2014/main" id="{1040F31B-0A8A-667E-2682-888607D3D057}"/>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3" name="Arrow: Right 12">
              <a:extLst>
                <a:ext uri="{FF2B5EF4-FFF2-40B4-BE49-F238E27FC236}">
                  <a16:creationId xmlns:a16="http://schemas.microsoft.com/office/drawing/2014/main" id="{DDA3FDE7-6CF3-6878-308E-92DA001BD817}"/>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50426025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C9A2FA62-DA37-E1DF-E8A0-A7FC5A617F31}"/>
              </a:ext>
            </a:extLst>
          </p:cNvPr>
          <p:cNvGraphicFramePr>
            <a:graphicFrameLocks noChangeAspect="1"/>
          </p:cNvGraphicFramePr>
          <p:nvPr>
            <p:custDataLst>
              <p:tags r:id="rId1"/>
            </p:custDataLst>
            <p:extLst>
              <p:ext uri="{D42A27DB-BD31-4B8C-83A1-F6EECF244321}">
                <p14:modId xmlns:p14="http://schemas.microsoft.com/office/powerpoint/2010/main" val="1227592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2" name="Object 31" hidden="1">
                        <a:extLst>
                          <a:ext uri="{FF2B5EF4-FFF2-40B4-BE49-F238E27FC236}">
                            <a16:creationId xmlns:a16="http://schemas.microsoft.com/office/drawing/2014/main" id="{C9A2FA62-DA37-E1DF-E8A0-A7FC5A617F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object 4"/>
          <p:cNvPicPr/>
          <p:nvPr/>
        </p:nvPicPr>
        <p:blipFill>
          <a:blip r:embed="rId6" cstate="print"/>
          <a:stretch>
            <a:fillRect/>
          </a:stretch>
        </p:blipFill>
        <p:spPr>
          <a:xfrm>
            <a:off x="5346001" y="14"/>
            <a:ext cx="5345988" cy="5174145"/>
          </a:xfrm>
          <a:prstGeom prst="rect">
            <a:avLst/>
          </a:prstGeom>
        </p:spPr>
      </p:pic>
      <p:sp>
        <p:nvSpPr>
          <p:cNvPr id="6" name="object 6"/>
          <p:cNvSpPr/>
          <p:nvPr/>
        </p:nvSpPr>
        <p:spPr>
          <a:xfrm>
            <a:off x="201554" y="190947"/>
            <a:ext cx="130810" cy="0"/>
          </a:xfrm>
          <a:custGeom>
            <a:avLst/>
            <a:gdLst/>
            <a:ahLst/>
            <a:cxnLst/>
            <a:rect l="l" t="t" r="r" b="b"/>
            <a:pathLst>
              <a:path w="130810">
                <a:moveTo>
                  <a:pt x="0" y="0"/>
                </a:moveTo>
                <a:lnTo>
                  <a:pt x="130225" y="0"/>
                </a:lnTo>
              </a:path>
            </a:pathLst>
          </a:custGeom>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7" name="object 7"/>
          <p:cNvSpPr/>
          <p:nvPr/>
        </p:nvSpPr>
        <p:spPr>
          <a:xfrm>
            <a:off x="201554" y="265113"/>
            <a:ext cx="130810" cy="0"/>
          </a:xfrm>
          <a:custGeom>
            <a:avLst/>
            <a:gdLst/>
            <a:ahLst/>
            <a:cxnLst/>
            <a:rect l="l" t="t" r="r" b="b"/>
            <a:pathLst>
              <a:path w="130810">
                <a:moveTo>
                  <a:pt x="0" y="0"/>
                </a:moveTo>
                <a:lnTo>
                  <a:pt x="130225" y="0"/>
                </a:lnTo>
              </a:path>
            </a:pathLst>
          </a:custGeom>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8" name="object 8"/>
          <p:cNvSpPr/>
          <p:nvPr/>
        </p:nvSpPr>
        <p:spPr>
          <a:xfrm>
            <a:off x="201554" y="343640"/>
            <a:ext cx="130810" cy="0"/>
          </a:xfrm>
          <a:custGeom>
            <a:avLst/>
            <a:gdLst/>
            <a:ahLst/>
            <a:cxnLst/>
            <a:rect l="l" t="t" r="r" b="b"/>
            <a:pathLst>
              <a:path w="130810">
                <a:moveTo>
                  <a:pt x="0" y="0"/>
                </a:moveTo>
                <a:lnTo>
                  <a:pt x="130225" y="0"/>
                </a:lnTo>
              </a:path>
            </a:pathLst>
          </a:custGeom>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9" name="object 9"/>
          <p:cNvSpPr/>
          <p:nvPr/>
        </p:nvSpPr>
        <p:spPr>
          <a:xfrm>
            <a:off x="-500" y="5190185"/>
            <a:ext cx="2103120" cy="1859280"/>
          </a:xfrm>
          <a:custGeom>
            <a:avLst/>
            <a:gdLst/>
            <a:ahLst/>
            <a:cxnLst/>
            <a:rect l="l" t="t" r="r" b="b"/>
            <a:pathLst>
              <a:path w="2132965" h="1859279">
                <a:moveTo>
                  <a:pt x="2132805" y="0"/>
                </a:moveTo>
                <a:lnTo>
                  <a:pt x="0" y="0"/>
                </a:lnTo>
                <a:lnTo>
                  <a:pt x="0" y="1858877"/>
                </a:lnTo>
                <a:lnTo>
                  <a:pt x="2132805" y="1858877"/>
                </a:lnTo>
                <a:lnTo>
                  <a:pt x="2132805" y="0"/>
                </a:lnTo>
                <a:close/>
              </a:path>
            </a:pathLst>
          </a:custGeom>
          <a:solidFill>
            <a:srgbClr val="5A87C5"/>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10" name="object 10"/>
          <p:cNvSpPr txBox="1"/>
          <p:nvPr/>
        </p:nvSpPr>
        <p:spPr>
          <a:xfrm>
            <a:off x="527301" y="1956247"/>
            <a:ext cx="3924300" cy="2354362"/>
          </a:xfrm>
          <a:prstGeom prst="rect">
            <a:avLst/>
          </a:prstGeom>
        </p:spPr>
        <p:txBody>
          <a:bodyPr vert="horz" wrap="square" lIns="0" tIns="12700" rIns="0" bIns="0" rtlCol="0">
            <a:spAutoFit/>
          </a:bodyPr>
          <a:lstStyle/>
          <a:p>
            <a:pPr marL="12700">
              <a:spcBef>
                <a:spcPts val="100"/>
              </a:spcBef>
            </a:pPr>
            <a:r>
              <a:rPr sz="1600" b="1" dirty="0">
                <a:solidFill>
                  <a:schemeClr val="tx1"/>
                </a:solidFill>
                <a:latin typeface="Slate Pro" panose="02000506040000020004" pitchFamily="2" charset="0"/>
                <a:cs typeface="Trebuchet MS"/>
                <a:sym typeface="Slate Pro" panose="02000506040000020004" pitchFamily="2" charset="0"/>
              </a:rPr>
              <a:t>As </a:t>
            </a:r>
            <a:r>
              <a:rPr lang="en-US" sz="1600" b="1" dirty="0">
                <a:solidFill>
                  <a:schemeClr val="tx1"/>
                </a:solidFill>
                <a:latin typeface="Slate Pro" panose="02000506040000020004" pitchFamily="2" charset="0"/>
                <a:cs typeface="Trebuchet MS"/>
                <a:sym typeface="Slate Pro" panose="02000506040000020004" pitchFamily="2" charset="0"/>
              </a:rPr>
              <a:t>an ACME Partner</a:t>
            </a:r>
            <a:r>
              <a:rPr sz="1600" b="1" dirty="0">
                <a:solidFill>
                  <a:schemeClr val="tx1"/>
                </a:solidFill>
                <a:latin typeface="Slate Pro" panose="02000506040000020004" pitchFamily="2" charset="0"/>
                <a:cs typeface="Trebuchet MS"/>
                <a:sym typeface="Slate Pro" panose="02000506040000020004" pitchFamily="2" charset="0"/>
              </a:rPr>
              <a:t>, you’ll hear it first!</a:t>
            </a:r>
            <a:endParaRPr sz="1600" dirty="0">
              <a:solidFill>
                <a:schemeClr val="tx1"/>
              </a:solidFill>
              <a:latin typeface="Slate Pro" panose="02000506040000020004" pitchFamily="2" charset="0"/>
              <a:cs typeface="Trebuchet MS"/>
              <a:sym typeface="Slate Pro" panose="02000506040000020004" pitchFamily="2" charset="0"/>
            </a:endParaRPr>
          </a:p>
          <a:p>
            <a:pPr marL="12700" marR="5080">
              <a:lnSpc>
                <a:spcPct val="117400"/>
              </a:lnSpc>
              <a:spcBef>
                <a:spcPts val="750"/>
              </a:spcBef>
            </a:pPr>
            <a:r>
              <a:rPr lang="en-US" sz="1400" dirty="0">
                <a:latin typeface="Slate Pro" panose="02000506040000020004" pitchFamily="2" charset="0"/>
                <a:cs typeface="Arial"/>
                <a:sym typeface="Slate Pro" panose="02000506040000020004" pitchFamily="2" charset="0"/>
              </a:rPr>
              <a:t>We have a variety of communications resources in place to keep Partners informed of product releases, new collateral, press coverage, events, and more. Please be sure your ACME Partner Manager has your current contact information so that you receive all communications to stay up-to-date on all ACME and Partner-specific news. You can also visit the ACME Partner Portal </a:t>
            </a:r>
            <a:r>
              <a:rPr lang="en-US" sz="1400" dirty="0">
                <a:solidFill>
                  <a:schemeClr val="tx1"/>
                </a:solidFill>
                <a:latin typeface="Slate Pro" panose="02000506040000020004" pitchFamily="2" charset="0"/>
                <a:cs typeface="Arial"/>
                <a:sym typeface="Slate Pro" panose="02000506040000020004" pitchFamily="2" charset="0"/>
              </a:rPr>
              <a:t>News &amp; Announcements.</a:t>
            </a:r>
          </a:p>
        </p:txBody>
      </p:sp>
      <p:sp>
        <p:nvSpPr>
          <p:cNvPr id="11" name="object 11"/>
          <p:cNvSpPr txBox="1">
            <a:spLocks noGrp="1"/>
          </p:cNvSpPr>
          <p:nvPr>
            <p:ph type="title"/>
          </p:nvPr>
        </p:nvSpPr>
        <p:spPr>
          <a:xfrm>
            <a:off x="500299" y="411480"/>
            <a:ext cx="4367636"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Partner Communication Resources</a:t>
            </a:r>
            <a:endParaRPr sz="3200" dirty="0">
              <a:solidFill>
                <a:srgbClr val="5A87C5"/>
              </a:solidFill>
            </a:endParaRPr>
          </a:p>
        </p:txBody>
      </p:sp>
      <p:sp>
        <p:nvSpPr>
          <p:cNvPr id="12" name="object 12"/>
          <p:cNvSpPr txBox="1"/>
          <p:nvPr/>
        </p:nvSpPr>
        <p:spPr>
          <a:xfrm>
            <a:off x="527301" y="4666939"/>
            <a:ext cx="3725765" cy="228268"/>
          </a:xfrm>
          <a:prstGeom prst="rect">
            <a:avLst/>
          </a:prstGeom>
        </p:spPr>
        <p:txBody>
          <a:bodyPr vert="horz" wrap="square" lIns="0" tIns="12700" rIns="0" bIns="0" rtlCol="0">
            <a:spAutoFit/>
          </a:bodyPr>
          <a:lstStyle/>
          <a:p>
            <a:pPr marL="12700">
              <a:spcBef>
                <a:spcPts val="100"/>
              </a:spcBef>
            </a:pPr>
            <a:r>
              <a:rPr lang="en-US" sz="1400" b="1" spc="-20" dirty="0">
                <a:solidFill>
                  <a:srgbClr val="5A87C5"/>
                </a:solidFill>
                <a:latin typeface="Slate Pro" panose="02000506040000020004" pitchFamily="2" charset="0"/>
                <a:cs typeface="Arial"/>
                <a:sym typeface="Slate Pro" panose="02000506040000020004" pitchFamily="2" charset="0"/>
              </a:rPr>
              <a:t>Get added to the list here!</a:t>
            </a:r>
            <a:endParaRPr lang="en-US" sz="1400" dirty="0">
              <a:solidFill>
                <a:srgbClr val="5A87C5"/>
              </a:solidFill>
              <a:highlight>
                <a:srgbClr val="FFFF00"/>
              </a:highlight>
              <a:latin typeface="Slate Pro" panose="02000506040000020004" pitchFamily="2" charset="0"/>
              <a:cs typeface="Arial"/>
              <a:sym typeface="Slate Pro" panose="02000506040000020004" pitchFamily="2" charset="0"/>
            </a:endParaRPr>
          </a:p>
        </p:txBody>
      </p:sp>
      <p:sp>
        <p:nvSpPr>
          <p:cNvPr id="13" name="object 13"/>
          <p:cNvSpPr/>
          <p:nvPr/>
        </p:nvSpPr>
        <p:spPr>
          <a:xfrm>
            <a:off x="500299" y="4475392"/>
            <a:ext cx="3924300" cy="0"/>
          </a:xfrm>
          <a:custGeom>
            <a:avLst/>
            <a:gdLst/>
            <a:ahLst/>
            <a:cxnLst/>
            <a:rect l="l" t="t" r="r" b="b"/>
            <a:pathLst>
              <a:path w="3924300">
                <a:moveTo>
                  <a:pt x="0" y="0"/>
                </a:moveTo>
                <a:lnTo>
                  <a:pt x="3923995" y="0"/>
                </a:lnTo>
              </a:path>
            </a:pathLst>
          </a:custGeom>
          <a:ln w="6350">
            <a:solidFill>
              <a:srgbClr val="A69E96"/>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14" name="object 14"/>
          <p:cNvSpPr txBox="1"/>
          <p:nvPr/>
        </p:nvSpPr>
        <p:spPr>
          <a:xfrm>
            <a:off x="406881" y="6517706"/>
            <a:ext cx="1318260" cy="219932"/>
          </a:xfrm>
          <a:prstGeom prst="rect">
            <a:avLst/>
          </a:prstGeom>
        </p:spPr>
        <p:txBody>
          <a:bodyPr vert="horz" wrap="square" lIns="0" tIns="40005" rIns="0" bIns="0" rtlCol="0">
            <a:spAutoFit/>
          </a:bodyPr>
          <a:lstStyle/>
          <a:p>
            <a:pPr marL="189865" marR="5080" indent="-190500" algn="ctr">
              <a:lnSpc>
                <a:spcPts val="1410"/>
              </a:lnSpc>
              <a:spcBef>
                <a:spcPts val="315"/>
              </a:spcBef>
            </a:pPr>
            <a:r>
              <a:rPr sz="1350" b="1" spc="-10">
                <a:solidFill>
                  <a:srgbClr val="FFFFFF"/>
                </a:solidFill>
                <a:latin typeface="Slate Pro" panose="02000506040000020004" pitchFamily="2" charset="0"/>
                <a:cs typeface="Arial"/>
                <a:sym typeface="Slate Pro" panose="02000506040000020004" pitchFamily="2" charset="0"/>
              </a:rPr>
              <a:t>Newsletters</a:t>
            </a:r>
            <a:endParaRPr lang="en-US" sz="1350">
              <a:latin typeface="Slate Pro" panose="02000506040000020004" pitchFamily="2" charset="0"/>
              <a:cs typeface="Arial"/>
              <a:sym typeface="Slate Pro" panose="02000506040000020004" pitchFamily="2" charset="0"/>
            </a:endParaRPr>
          </a:p>
        </p:txBody>
      </p:sp>
      <p:pic>
        <p:nvPicPr>
          <p:cNvPr id="16" name="object 16"/>
          <p:cNvPicPr/>
          <p:nvPr/>
        </p:nvPicPr>
        <p:blipFill>
          <a:blip r:embed="rId7" cstate="print"/>
          <a:stretch>
            <a:fillRect/>
          </a:stretch>
        </p:blipFill>
        <p:spPr>
          <a:xfrm>
            <a:off x="758940" y="5580709"/>
            <a:ext cx="235750" cy="239992"/>
          </a:xfrm>
          <a:prstGeom prst="rect">
            <a:avLst/>
          </a:prstGeom>
        </p:spPr>
      </p:pic>
      <p:sp>
        <p:nvSpPr>
          <p:cNvPr id="17" name="object 17"/>
          <p:cNvSpPr/>
          <p:nvPr/>
        </p:nvSpPr>
        <p:spPr>
          <a:xfrm>
            <a:off x="655804" y="5440707"/>
            <a:ext cx="820419" cy="765175"/>
          </a:xfrm>
          <a:custGeom>
            <a:avLst/>
            <a:gdLst/>
            <a:ahLst/>
            <a:cxnLst/>
            <a:rect l="l" t="t" r="r" b="b"/>
            <a:pathLst>
              <a:path w="820419" h="765175">
                <a:moveTo>
                  <a:pt x="510781" y="566724"/>
                </a:moveTo>
                <a:lnTo>
                  <a:pt x="504190" y="560006"/>
                </a:lnTo>
                <a:lnTo>
                  <a:pt x="109740" y="560006"/>
                </a:lnTo>
                <a:lnTo>
                  <a:pt x="103136" y="566724"/>
                </a:lnTo>
                <a:lnTo>
                  <a:pt x="103136" y="583285"/>
                </a:lnTo>
                <a:lnTo>
                  <a:pt x="109740" y="590003"/>
                </a:lnTo>
                <a:lnTo>
                  <a:pt x="496049" y="590003"/>
                </a:lnTo>
                <a:lnTo>
                  <a:pt x="504190" y="590003"/>
                </a:lnTo>
                <a:lnTo>
                  <a:pt x="510781" y="583285"/>
                </a:lnTo>
                <a:lnTo>
                  <a:pt x="510781" y="566724"/>
                </a:lnTo>
                <a:close/>
              </a:path>
              <a:path w="820419" h="765175">
                <a:moveTo>
                  <a:pt x="510781" y="461733"/>
                </a:moveTo>
                <a:lnTo>
                  <a:pt x="504190" y="455015"/>
                </a:lnTo>
                <a:lnTo>
                  <a:pt x="109740" y="455015"/>
                </a:lnTo>
                <a:lnTo>
                  <a:pt x="103136" y="461733"/>
                </a:lnTo>
                <a:lnTo>
                  <a:pt x="103136" y="478294"/>
                </a:lnTo>
                <a:lnTo>
                  <a:pt x="109740" y="485013"/>
                </a:lnTo>
                <a:lnTo>
                  <a:pt x="496049" y="485013"/>
                </a:lnTo>
                <a:lnTo>
                  <a:pt x="504190" y="485013"/>
                </a:lnTo>
                <a:lnTo>
                  <a:pt x="510781" y="478294"/>
                </a:lnTo>
                <a:lnTo>
                  <a:pt x="510781" y="461733"/>
                </a:lnTo>
                <a:close/>
              </a:path>
              <a:path w="820419" h="765175">
                <a:moveTo>
                  <a:pt x="510781" y="356717"/>
                </a:moveTo>
                <a:lnTo>
                  <a:pt x="504190" y="349999"/>
                </a:lnTo>
                <a:lnTo>
                  <a:pt x="384771" y="349999"/>
                </a:lnTo>
                <a:lnTo>
                  <a:pt x="378167" y="356717"/>
                </a:lnTo>
                <a:lnTo>
                  <a:pt x="378167" y="373278"/>
                </a:lnTo>
                <a:lnTo>
                  <a:pt x="384771" y="379996"/>
                </a:lnTo>
                <a:lnTo>
                  <a:pt x="496049" y="379996"/>
                </a:lnTo>
                <a:lnTo>
                  <a:pt x="504190" y="379996"/>
                </a:lnTo>
                <a:lnTo>
                  <a:pt x="510781" y="373278"/>
                </a:lnTo>
                <a:lnTo>
                  <a:pt x="510781" y="356717"/>
                </a:lnTo>
                <a:close/>
              </a:path>
              <a:path w="820419" h="765175">
                <a:moveTo>
                  <a:pt x="510781" y="251726"/>
                </a:moveTo>
                <a:lnTo>
                  <a:pt x="504190" y="245008"/>
                </a:lnTo>
                <a:lnTo>
                  <a:pt x="384771" y="245008"/>
                </a:lnTo>
                <a:lnTo>
                  <a:pt x="378167" y="251726"/>
                </a:lnTo>
                <a:lnTo>
                  <a:pt x="378167" y="268287"/>
                </a:lnTo>
                <a:lnTo>
                  <a:pt x="384771" y="275005"/>
                </a:lnTo>
                <a:lnTo>
                  <a:pt x="496049" y="275005"/>
                </a:lnTo>
                <a:lnTo>
                  <a:pt x="504190" y="275005"/>
                </a:lnTo>
                <a:lnTo>
                  <a:pt x="510781" y="268287"/>
                </a:lnTo>
                <a:lnTo>
                  <a:pt x="510781" y="251726"/>
                </a:lnTo>
                <a:close/>
              </a:path>
              <a:path w="820419" h="765175">
                <a:moveTo>
                  <a:pt x="510781" y="146723"/>
                </a:moveTo>
                <a:lnTo>
                  <a:pt x="504190" y="140004"/>
                </a:lnTo>
                <a:lnTo>
                  <a:pt x="384771" y="140004"/>
                </a:lnTo>
                <a:lnTo>
                  <a:pt x="378167" y="146723"/>
                </a:lnTo>
                <a:lnTo>
                  <a:pt x="378167" y="163283"/>
                </a:lnTo>
                <a:lnTo>
                  <a:pt x="384771" y="170002"/>
                </a:lnTo>
                <a:lnTo>
                  <a:pt x="496049" y="170002"/>
                </a:lnTo>
                <a:lnTo>
                  <a:pt x="504190" y="170002"/>
                </a:lnTo>
                <a:lnTo>
                  <a:pt x="510781" y="163283"/>
                </a:lnTo>
                <a:lnTo>
                  <a:pt x="510781" y="146723"/>
                </a:lnTo>
                <a:close/>
              </a:path>
              <a:path w="820419" h="765175">
                <a:moveTo>
                  <a:pt x="717054" y="111721"/>
                </a:moveTo>
                <a:lnTo>
                  <a:pt x="710463" y="105003"/>
                </a:lnTo>
                <a:lnTo>
                  <a:pt x="694182" y="105003"/>
                </a:lnTo>
                <a:lnTo>
                  <a:pt x="687590" y="111721"/>
                </a:lnTo>
                <a:lnTo>
                  <a:pt x="687590" y="670788"/>
                </a:lnTo>
                <a:lnTo>
                  <a:pt x="694182" y="677506"/>
                </a:lnTo>
                <a:lnTo>
                  <a:pt x="702322" y="677506"/>
                </a:lnTo>
                <a:lnTo>
                  <a:pt x="710463" y="677506"/>
                </a:lnTo>
                <a:lnTo>
                  <a:pt x="717054" y="670788"/>
                </a:lnTo>
                <a:lnTo>
                  <a:pt x="717054" y="111721"/>
                </a:lnTo>
                <a:close/>
              </a:path>
              <a:path w="820419" h="765175">
                <a:moveTo>
                  <a:pt x="820191" y="111709"/>
                </a:moveTo>
                <a:lnTo>
                  <a:pt x="813600" y="104990"/>
                </a:lnTo>
                <a:lnTo>
                  <a:pt x="797318" y="104990"/>
                </a:lnTo>
                <a:lnTo>
                  <a:pt x="790727" y="111709"/>
                </a:lnTo>
                <a:lnTo>
                  <a:pt x="790727" y="645007"/>
                </a:lnTo>
                <a:lnTo>
                  <a:pt x="783767" y="680008"/>
                </a:lnTo>
                <a:lnTo>
                  <a:pt x="764806" y="708621"/>
                </a:lnTo>
                <a:lnTo>
                  <a:pt x="736701" y="727925"/>
                </a:lnTo>
                <a:lnTo>
                  <a:pt x="702322" y="735012"/>
                </a:lnTo>
                <a:lnTo>
                  <a:pt x="667943" y="727925"/>
                </a:lnTo>
                <a:lnTo>
                  <a:pt x="639838" y="708621"/>
                </a:lnTo>
                <a:lnTo>
                  <a:pt x="624433" y="685380"/>
                </a:lnTo>
                <a:lnTo>
                  <a:pt x="624433" y="735012"/>
                </a:lnTo>
                <a:lnTo>
                  <a:pt x="117868" y="735012"/>
                </a:lnTo>
                <a:lnTo>
                  <a:pt x="83489" y="727925"/>
                </a:lnTo>
                <a:lnTo>
                  <a:pt x="55384" y="708621"/>
                </a:lnTo>
                <a:lnTo>
                  <a:pt x="36423" y="680008"/>
                </a:lnTo>
                <a:lnTo>
                  <a:pt x="29464" y="645007"/>
                </a:lnTo>
                <a:lnTo>
                  <a:pt x="29464" y="49999"/>
                </a:lnTo>
                <a:lnTo>
                  <a:pt x="31013" y="42227"/>
                </a:lnTo>
                <a:lnTo>
                  <a:pt x="35217" y="35864"/>
                </a:lnTo>
                <a:lnTo>
                  <a:pt x="41465" y="31572"/>
                </a:lnTo>
                <a:lnTo>
                  <a:pt x="49110" y="29997"/>
                </a:lnTo>
                <a:lnTo>
                  <a:pt x="564807" y="29997"/>
                </a:lnTo>
                <a:lnTo>
                  <a:pt x="584454" y="645007"/>
                </a:lnTo>
                <a:lnTo>
                  <a:pt x="587260" y="671068"/>
                </a:lnTo>
                <a:lnTo>
                  <a:pt x="595261" y="695172"/>
                </a:lnTo>
                <a:lnTo>
                  <a:pt x="607847" y="716699"/>
                </a:lnTo>
                <a:lnTo>
                  <a:pt x="624433" y="735012"/>
                </a:lnTo>
                <a:lnTo>
                  <a:pt x="624433" y="685380"/>
                </a:lnTo>
                <a:lnTo>
                  <a:pt x="620877" y="680008"/>
                </a:lnTo>
                <a:lnTo>
                  <a:pt x="613918" y="645007"/>
                </a:lnTo>
                <a:lnTo>
                  <a:pt x="613918" y="49999"/>
                </a:lnTo>
                <a:lnTo>
                  <a:pt x="610057" y="30556"/>
                </a:lnTo>
                <a:lnTo>
                  <a:pt x="609676" y="29997"/>
                </a:lnTo>
                <a:lnTo>
                  <a:pt x="599516" y="14668"/>
                </a:lnTo>
                <a:lnTo>
                  <a:pt x="583907" y="3937"/>
                </a:lnTo>
                <a:lnTo>
                  <a:pt x="564807" y="0"/>
                </a:lnTo>
                <a:lnTo>
                  <a:pt x="49110" y="0"/>
                </a:lnTo>
                <a:lnTo>
                  <a:pt x="30010" y="3937"/>
                </a:lnTo>
                <a:lnTo>
                  <a:pt x="14401" y="14668"/>
                </a:lnTo>
                <a:lnTo>
                  <a:pt x="3860" y="30556"/>
                </a:lnTo>
                <a:lnTo>
                  <a:pt x="0" y="49999"/>
                </a:lnTo>
                <a:lnTo>
                  <a:pt x="0" y="645007"/>
                </a:lnTo>
                <a:lnTo>
                  <a:pt x="9271" y="691667"/>
                </a:lnTo>
                <a:lnTo>
                  <a:pt x="34556" y="729818"/>
                </a:lnTo>
                <a:lnTo>
                  <a:pt x="72021" y="755561"/>
                </a:lnTo>
                <a:lnTo>
                  <a:pt x="117868" y="765009"/>
                </a:lnTo>
                <a:lnTo>
                  <a:pt x="702322" y="765009"/>
                </a:lnTo>
                <a:lnTo>
                  <a:pt x="748157" y="755561"/>
                </a:lnTo>
                <a:lnTo>
                  <a:pt x="785634" y="729818"/>
                </a:lnTo>
                <a:lnTo>
                  <a:pt x="810920" y="691667"/>
                </a:lnTo>
                <a:lnTo>
                  <a:pt x="820191" y="645007"/>
                </a:lnTo>
                <a:lnTo>
                  <a:pt x="820191" y="111709"/>
                </a:lnTo>
                <a:close/>
              </a:path>
            </a:pathLst>
          </a:custGeom>
          <a:solidFill>
            <a:srgbClr val="FFFFFF"/>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19" name="object 19"/>
          <p:cNvSpPr txBox="1"/>
          <p:nvPr/>
        </p:nvSpPr>
        <p:spPr>
          <a:xfrm>
            <a:off x="2561522" y="6547249"/>
            <a:ext cx="1317625" cy="219932"/>
          </a:xfrm>
          <a:prstGeom prst="rect">
            <a:avLst/>
          </a:prstGeom>
        </p:spPr>
        <p:txBody>
          <a:bodyPr vert="horz" wrap="square" lIns="0" tIns="12065" rIns="0" bIns="0" rtlCol="0">
            <a:spAutoFit/>
          </a:bodyPr>
          <a:lstStyle/>
          <a:p>
            <a:pPr>
              <a:spcBef>
                <a:spcPts val="95"/>
              </a:spcBef>
            </a:pPr>
            <a:r>
              <a:rPr lang="en-US" sz="1350" b="1" spc="-60">
                <a:solidFill>
                  <a:srgbClr val="FFFFFF"/>
                </a:solidFill>
                <a:latin typeface="Slate Pro" panose="02000506040000020004" pitchFamily="2" charset="0"/>
                <a:cs typeface="Arial"/>
                <a:sym typeface="Slate Pro" panose="02000506040000020004" pitchFamily="2" charset="0"/>
              </a:rPr>
              <a:t>Partner</a:t>
            </a:r>
            <a:r>
              <a:rPr sz="1350" b="1" spc="-55">
                <a:solidFill>
                  <a:srgbClr val="FFFFFF"/>
                </a:solidFill>
                <a:latin typeface="Slate Pro" panose="02000506040000020004" pitchFamily="2" charset="0"/>
                <a:cs typeface="Arial"/>
                <a:sym typeface="Slate Pro" panose="02000506040000020004" pitchFamily="2" charset="0"/>
              </a:rPr>
              <a:t> </a:t>
            </a:r>
            <a:r>
              <a:rPr lang="en-US" sz="1350" b="1" spc="-55" err="1">
                <a:solidFill>
                  <a:srgbClr val="FFFFFF"/>
                </a:solidFill>
                <a:latin typeface="Slate Pro" panose="02000506040000020004" pitchFamily="2" charset="0"/>
                <a:cs typeface="Arial"/>
                <a:sym typeface="Slate Pro" panose="02000506040000020004" pitchFamily="2" charset="0"/>
              </a:rPr>
              <a:t>Hotsyncs</a:t>
            </a:r>
            <a:endParaRPr sz="1350">
              <a:latin typeface="Slate Pro" panose="02000506040000020004" pitchFamily="2" charset="0"/>
              <a:cs typeface="Arial"/>
              <a:sym typeface="Slate Pro" panose="02000506040000020004" pitchFamily="2" charset="0"/>
            </a:endParaRPr>
          </a:p>
        </p:txBody>
      </p:sp>
      <p:grpSp>
        <p:nvGrpSpPr>
          <p:cNvPr id="35" name="Group 34">
            <a:extLst>
              <a:ext uri="{FF2B5EF4-FFF2-40B4-BE49-F238E27FC236}">
                <a16:creationId xmlns:a16="http://schemas.microsoft.com/office/drawing/2014/main" id="{425F73D4-BCE6-0FA5-D33F-8CF85A07CB93}"/>
              </a:ext>
            </a:extLst>
          </p:cNvPr>
          <p:cNvGrpSpPr/>
          <p:nvPr/>
        </p:nvGrpSpPr>
        <p:grpSpPr>
          <a:xfrm>
            <a:off x="4300385" y="5190172"/>
            <a:ext cx="2103120" cy="1859280"/>
            <a:chOff x="4300385" y="5190172"/>
            <a:chExt cx="2103120" cy="1859280"/>
          </a:xfrm>
        </p:grpSpPr>
        <p:sp>
          <p:nvSpPr>
            <p:cNvPr id="22" name="object 22"/>
            <p:cNvSpPr/>
            <p:nvPr/>
          </p:nvSpPr>
          <p:spPr>
            <a:xfrm>
              <a:off x="4300385" y="5190172"/>
              <a:ext cx="2103120" cy="1859280"/>
            </a:xfrm>
            <a:custGeom>
              <a:avLst/>
              <a:gdLst/>
              <a:ahLst/>
              <a:cxnLst/>
              <a:rect l="l" t="t" r="r" b="b"/>
              <a:pathLst>
                <a:path w="2132965" h="1859279">
                  <a:moveTo>
                    <a:pt x="2132799" y="0"/>
                  </a:moveTo>
                  <a:lnTo>
                    <a:pt x="0" y="0"/>
                  </a:lnTo>
                  <a:lnTo>
                    <a:pt x="0" y="1858876"/>
                  </a:lnTo>
                  <a:lnTo>
                    <a:pt x="2132799" y="1858876"/>
                  </a:lnTo>
                  <a:lnTo>
                    <a:pt x="2132799" y="0"/>
                  </a:lnTo>
                  <a:close/>
                </a:path>
              </a:pathLst>
            </a:custGeom>
            <a:solidFill>
              <a:srgbClr val="5A87C5"/>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5" name="object 25"/>
            <p:cNvSpPr/>
            <p:nvPr/>
          </p:nvSpPr>
          <p:spPr>
            <a:xfrm>
              <a:off x="4867935" y="5440705"/>
              <a:ext cx="998219" cy="913765"/>
            </a:xfrm>
            <a:custGeom>
              <a:avLst/>
              <a:gdLst/>
              <a:ahLst/>
              <a:cxnLst/>
              <a:rect l="l" t="t" r="r" b="b"/>
              <a:pathLst>
                <a:path w="998220" h="913764">
                  <a:moveTo>
                    <a:pt x="674585" y="521906"/>
                  </a:moveTo>
                  <a:lnTo>
                    <a:pt x="672757" y="508342"/>
                  </a:lnTo>
                  <a:lnTo>
                    <a:pt x="667867" y="472046"/>
                  </a:lnTo>
                  <a:lnTo>
                    <a:pt x="648906" y="427202"/>
                  </a:lnTo>
                  <a:lnTo>
                    <a:pt x="646887" y="424599"/>
                  </a:lnTo>
                  <a:lnTo>
                    <a:pt x="646887" y="508342"/>
                  </a:lnTo>
                  <a:lnTo>
                    <a:pt x="326694" y="508342"/>
                  </a:lnTo>
                  <a:lnTo>
                    <a:pt x="337921" y="461454"/>
                  </a:lnTo>
                  <a:lnTo>
                    <a:pt x="361835" y="421017"/>
                  </a:lnTo>
                  <a:lnTo>
                    <a:pt x="396125" y="389318"/>
                  </a:lnTo>
                  <a:lnTo>
                    <a:pt x="438531" y="368642"/>
                  </a:lnTo>
                  <a:lnTo>
                    <a:pt x="486791" y="361238"/>
                  </a:lnTo>
                  <a:lnTo>
                    <a:pt x="535038" y="368642"/>
                  </a:lnTo>
                  <a:lnTo>
                    <a:pt x="577443" y="389318"/>
                  </a:lnTo>
                  <a:lnTo>
                    <a:pt x="611746" y="421017"/>
                  </a:lnTo>
                  <a:lnTo>
                    <a:pt x="635647" y="461454"/>
                  </a:lnTo>
                  <a:lnTo>
                    <a:pt x="646887" y="508342"/>
                  </a:lnTo>
                  <a:lnTo>
                    <a:pt x="646887" y="424599"/>
                  </a:lnTo>
                  <a:lnTo>
                    <a:pt x="619518" y="389178"/>
                  </a:lnTo>
                  <a:lnTo>
                    <a:pt x="583374" y="361238"/>
                  </a:lnTo>
                  <a:lnTo>
                    <a:pt x="536651" y="340829"/>
                  </a:lnTo>
                  <a:lnTo>
                    <a:pt x="486791" y="334111"/>
                  </a:lnTo>
                  <a:lnTo>
                    <a:pt x="436918" y="340829"/>
                  </a:lnTo>
                  <a:lnTo>
                    <a:pt x="392074" y="359791"/>
                  </a:lnTo>
                  <a:lnTo>
                    <a:pt x="354050" y="389178"/>
                  </a:lnTo>
                  <a:lnTo>
                    <a:pt x="324662" y="427202"/>
                  </a:lnTo>
                  <a:lnTo>
                    <a:pt x="305714" y="472046"/>
                  </a:lnTo>
                  <a:lnTo>
                    <a:pt x="298996" y="521906"/>
                  </a:lnTo>
                  <a:lnTo>
                    <a:pt x="298996" y="529399"/>
                  </a:lnTo>
                  <a:lnTo>
                    <a:pt x="305066" y="535470"/>
                  </a:lnTo>
                  <a:lnTo>
                    <a:pt x="668515" y="535470"/>
                  </a:lnTo>
                  <a:lnTo>
                    <a:pt x="674585" y="529399"/>
                  </a:lnTo>
                  <a:lnTo>
                    <a:pt x="674585" y="521906"/>
                  </a:lnTo>
                  <a:close/>
                </a:path>
                <a:path w="998220" h="913764">
                  <a:moveTo>
                    <a:pt x="997699" y="55765"/>
                  </a:moveTo>
                  <a:lnTo>
                    <a:pt x="993305" y="34086"/>
                  </a:lnTo>
                  <a:lnTo>
                    <a:pt x="988606" y="27127"/>
                  </a:lnTo>
                  <a:lnTo>
                    <a:pt x="981341" y="16357"/>
                  </a:lnTo>
                  <a:lnTo>
                    <a:pt x="970572" y="9093"/>
                  </a:lnTo>
                  <a:lnTo>
                    <a:pt x="970572" y="55765"/>
                  </a:lnTo>
                  <a:lnTo>
                    <a:pt x="970572" y="590778"/>
                  </a:lnTo>
                  <a:lnTo>
                    <a:pt x="970572" y="617905"/>
                  </a:lnTo>
                  <a:lnTo>
                    <a:pt x="970572" y="688746"/>
                  </a:lnTo>
                  <a:lnTo>
                    <a:pt x="968311" y="699884"/>
                  </a:lnTo>
                  <a:lnTo>
                    <a:pt x="962164" y="708990"/>
                  </a:lnTo>
                  <a:lnTo>
                    <a:pt x="953058" y="715124"/>
                  </a:lnTo>
                  <a:lnTo>
                    <a:pt x="941933" y="717372"/>
                  </a:lnTo>
                  <a:lnTo>
                    <a:pt x="55765" y="717372"/>
                  </a:lnTo>
                  <a:lnTo>
                    <a:pt x="44615" y="715124"/>
                  </a:lnTo>
                  <a:lnTo>
                    <a:pt x="35521" y="708990"/>
                  </a:lnTo>
                  <a:lnTo>
                    <a:pt x="29375" y="699884"/>
                  </a:lnTo>
                  <a:lnTo>
                    <a:pt x="27127" y="688746"/>
                  </a:lnTo>
                  <a:lnTo>
                    <a:pt x="27127" y="617905"/>
                  </a:lnTo>
                  <a:lnTo>
                    <a:pt x="970572" y="617905"/>
                  </a:lnTo>
                  <a:lnTo>
                    <a:pt x="970572" y="590778"/>
                  </a:lnTo>
                  <a:lnTo>
                    <a:pt x="27127" y="590778"/>
                  </a:lnTo>
                  <a:lnTo>
                    <a:pt x="27127" y="55765"/>
                  </a:lnTo>
                  <a:lnTo>
                    <a:pt x="29375" y="44640"/>
                  </a:lnTo>
                  <a:lnTo>
                    <a:pt x="35521" y="35534"/>
                  </a:lnTo>
                  <a:lnTo>
                    <a:pt x="44615" y="29387"/>
                  </a:lnTo>
                  <a:lnTo>
                    <a:pt x="55765" y="27127"/>
                  </a:lnTo>
                  <a:lnTo>
                    <a:pt x="941933" y="27127"/>
                  </a:lnTo>
                  <a:lnTo>
                    <a:pt x="953058" y="29387"/>
                  </a:lnTo>
                  <a:lnTo>
                    <a:pt x="962164" y="35534"/>
                  </a:lnTo>
                  <a:lnTo>
                    <a:pt x="968311" y="44640"/>
                  </a:lnTo>
                  <a:lnTo>
                    <a:pt x="970572" y="55765"/>
                  </a:lnTo>
                  <a:lnTo>
                    <a:pt x="970572" y="9093"/>
                  </a:lnTo>
                  <a:lnTo>
                    <a:pt x="963612" y="4394"/>
                  </a:lnTo>
                  <a:lnTo>
                    <a:pt x="941933" y="0"/>
                  </a:lnTo>
                  <a:lnTo>
                    <a:pt x="55765" y="0"/>
                  </a:lnTo>
                  <a:lnTo>
                    <a:pt x="34074" y="4394"/>
                  </a:lnTo>
                  <a:lnTo>
                    <a:pt x="16344" y="16357"/>
                  </a:lnTo>
                  <a:lnTo>
                    <a:pt x="4381" y="34086"/>
                  </a:lnTo>
                  <a:lnTo>
                    <a:pt x="0" y="55765"/>
                  </a:lnTo>
                  <a:lnTo>
                    <a:pt x="0" y="688746"/>
                  </a:lnTo>
                  <a:lnTo>
                    <a:pt x="4381" y="710438"/>
                  </a:lnTo>
                  <a:lnTo>
                    <a:pt x="16344" y="728154"/>
                  </a:lnTo>
                  <a:lnTo>
                    <a:pt x="34074" y="740117"/>
                  </a:lnTo>
                  <a:lnTo>
                    <a:pt x="55765" y="744499"/>
                  </a:lnTo>
                  <a:lnTo>
                    <a:pt x="420776" y="744499"/>
                  </a:lnTo>
                  <a:lnTo>
                    <a:pt x="414388" y="782586"/>
                  </a:lnTo>
                  <a:lnTo>
                    <a:pt x="402932" y="819150"/>
                  </a:lnTo>
                  <a:lnTo>
                    <a:pt x="386549" y="853808"/>
                  </a:lnTo>
                  <a:lnTo>
                    <a:pt x="365379" y="886167"/>
                  </a:lnTo>
                  <a:lnTo>
                    <a:pt x="301421" y="886167"/>
                  </a:lnTo>
                  <a:lnTo>
                    <a:pt x="295351" y="892251"/>
                  </a:lnTo>
                  <a:lnTo>
                    <a:pt x="295351" y="907224"/>
                  </a:lnTo>
                  <a:lnTo>
                    <a:pt x="301421" y="913295"/>
                  </a:lnTo>
                  <a:lnTo>
                    <a:pt x="696188" y="913295"/>
                  </a:lnTo>
                  <a:lnTo>
                    <a:pt x="702259" y="907224"/>
                  </a:lnTo>
                  <a:lnTo>
                    <a:pt x="702259" y="892251"/>
                  </a:lnTo>
                  <a:lnTo>
                    <a:pt x="696188" y="886167"/>
                  </a:lnTo>
                  <a:lnTo>
                    <a:pt x="632320" y="886167"/>
                  </a:lnTo>
                  <a:lnTo>
                    <a:pt x="611136" y="853795"/>
                  </a:lnTo>
                  <a:lnTo>
                    <a:pt x="599020" y="828167"/>
                  </a:lnTo>
                  <a:lnTo>
                    <a:pt x="599020" y="886167"/>
                  </a:lnTo>
                  <a:lnTo>
                    <a:pt x="398678" y="886167"/>
                  </a:lnTo>
                  <a:lnTo>
                    <a:pt x="417550" y="853287"/>
                  </a:lnTo>
                  <a:lnTo>
                    <a:pt x="432117" y="818515"/>
                  </a:lnTo>
                  <a:lnTo>
                    <a:pt x="442290" y="782142"/>
                  </a:lnTo>
                  <a:lnTo>
                    <a:pt x="447979" y="744499"/>
                  </a:lnTo>
                  <a:lnTo>
                    <a:pt x="549719" y="744499"/>
                  </a:lnTo>
                  <a:lnTo>
                    <a:pt x="555396" y="782142"/>
                  </a:lnTo>
                  <a:lnTo>
                    <a:pt x="565569" y="818515"/>
                  </a:lnTo>
                  <a:lnTo>
                    <a:pt x="580136" y="853300"/>
                  </a:lnTo>
                  <a:lnTo>
                    <a:pt x="599020" y="886167"/>
                  </a:lnTo>
                  <a:lnTo>
                    <a:pt x="599020" y="828167"/>
                  </a:lnTo>
                  <a:lnTo>
                    <a:pt x="594753" y="819137"/>
                  </a:lnTo>
                  <a:lnTo>
                    <a:pt x="583298" y="782586"/>
                  </a:lnTo>
                  <a:lnTo>
                    <a:pt x="576922" y="744499"/>
                  </a:lnTo>
                  <a:lnTo>
                    <a:pt x="941933" y="744499"/>
                  </a:lnTo>
                  <a:lnTo>
                    <a:pt x="963612" y="740117"/>
                  </a:lnTo>
                  <a:lnTo>
                    <a:pt x="981341" y="728154"/>
                  </a:lnTo>
                  <a:lnTo>
                    <a:pt x="988618" y="717372"/>
                  </a:lnTo>
                  <a:lnTo>
                    <a:pt x="993305" y="710438"/>
                  </a:lnTo>
                  <a:lnTo>
                    <a:pt x="997699" y="688746"/>
                  </a:lnTo>
                  <a:lnTo>
                    <a:pt x="997699" y="617905"/>
                  </a:lnTo>
                  <a:lnTo>
                    <a:pt x="997699" y="590778"/>
                  </a:lnTo>
                  <a:lnTo>
                    <a:pt x="997699" y="55765"/>
                  </a:lnTo>
                  <a:close/>
                </a:path>
              </a:pathLst>
            </a:custGeom>
            <a:solidFill>
              <a:srgbClr val="FFFFFF"/>
            </a:solidFill>
          </p:spPr>
          <p:txBody>
            <a:bodyPr wrap="square" lIns="0" tIns="0" rIns="0" bIns="0" rtlCol="0"/>
            <a:lstStyle/>
            <a:p>
              <a:endParaRPr>
                <a:latin typeface="Slate Pro" panose="02000506040000020004" pitchFamily="2" charset="0"/>
                <a:sym typeface="Slate Pro" panose="02000506040000020004" pitchFamily="2" charset="0"/>
              </a:endParaRPr>
            </a:p>
          </p:txBody>
        </p:sp>
      </p:grpSp>
      <p:pic>
        <p:nvPicPr>
          <p:cNvPr id="26" name="object 26"/>
          <p:cNvPicPr/>
          <p:nvPr/>
        </p:nvPicPr>
        <p:blipFill>
          <a:blip r:embed="rId8" cstate="print"/>
          <a:stretch>
            <a:fillRect/>
          </a:stretch>
        </p:blipFill>
        <p:spPr>
          <a:xfrm>
            <a:off x="5234685" y="5523146"/>
            <a:ext cx="240080" cy="240081"/>
          </a:xfrm>
          <a:prstGeom prst="rect">
            <a:avLst/>
          </a:prstGeom>
        </p:spPr>
      </p:pic>
      <p:sp>
        <p:nvSpPr>
          <p:cNvPr id="30" name="object 30"/>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7</a:t>
            </a:fld>
            <a:endParaRPr spc="-25"/>
          </a:p>
        </p:txBody>
      </p:sp>
      <p:grpSp>
        <p:nvGrpSpPr>
          <p:cNvPr id="34" name="Group 33">
            <a:extLst>
              <a:ext uri="{FF2B5EF4-FFF2-40B4-BE49-F238E27FC236}">
                <a16:creationId xmlns:a16="http://schemas.microsoft.com/office/drawing/2014/main" id="{3313B566-2B65-B977-8126-5F977904EFF9}"/>
              </a:ext>
            </a:extLst>
          </p:cNvPr>
          <p:cNvGrpSpPr/>
          <p:nvPr/>
        </p:nvGrpSpPr>
        <p:grpSpPr>
          <a:xfrm>
            <a:off x="6450825" y="5190172"/>
            <a:ext cx="2103120" cy="1859280"/>
            <a:chOff x="6450825" y="5190172"/>
            <a:chExt cx="2103120" cy="1859280"/>
          </a:xfrm>
        </p:grpSpPr>
        <p:sp>
          <p:nvSpPr>
            <p:cNvPr id="27" name="object 27"/>
            <p:cNvSpPr/>
            <p:nvPr/>
          </p:nvSpPr>
          <p:spPr>
            <a:xfrm>
              <a:off x="6450825" y="5190172"/>
              <a:ext cx="2103120" cy="1859280"/>
            </a:xfrm>
            <a:custGeom>
              <a:avLst/>
              <a:gdLst/>
              <a:ahLst/>
              <a:cxnLst/>
              <a:rect l="l" t="t" r="r" b="b"/>
              <a:pathLst>
                <a:path w="2132965" h="1859279">
                  <a:moveTo>
                    <a:pt x="2132812" y="0"/>
                  </a:moveTo>
                  <a:lnTo>
                    <a:pt x="0" y="0"/>
                  </a:lnTo>
                  <a:lnTo>
                    <a:pt x="0" y="1858876"/>
                  </a:lnTo>
                  <a:lnTo>
                    <a:pt x="2132812" y="1858876"/>
                  </a:lnTo>
                  <a:lnTo>
                    <a:pt x="2132812" y="0"/>
                  </a:lnTo>
                  <a:close/>
                </a:path>
              </a:pathLst>
            </a:custGeom>
            <a:solidFill>
              <a:srgbClr val="38639F"/>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8" name="object 28"/>
            <p:cNvSpPr txBox="1"/>
            <p:nvPr/>
          </p:nvSpPr>
          <p:spPr>
            <a:xfrm>
              <a:off x="6989619" y="6528252"/>
              <a:ext cx="1055072" cy="219291"/>
            </a:xfrm>
            <a:prstGeom prst="rect">
              <a:avLst/>
            </a:prstGeom>
          </p:spPr>
          <p:txBody>
            <a:bodyPr vert="horz" wrap="square" lIns="0" tIns="11430" rIns="0" bIns="0" rtlCol="0">
              <a:spAutoFit/>
            </a:bodyPr>
            <a:lstStyle/>
            <a:p>
              <a:pPr>
                <a:spcBef>
                  <a:spcPts val="90"/>
                </a:spcBef>
              </a:pPr>
              <a:r>
                <a:rPr lang="en-US" sz="1350" b="1" spc="-30">
                  <a:solidFill>
                    <a:srgbClr val="FFFFFF"/>
                  </a:solidFill>
                  <a:latin typeface="Slate Pro" panose="02000506040000020004" pitchFamily="2" charset="0"/>
                  <a:cs typeface="Arial"/>
                  <a:sym typeface="Slate Pro" panose="02000506040000020004" pitchFamily="2" charset="0"/>
                </a:rPr>
                <a:t>Roundtables</a:t>
              </a:r>
              <a:endParaRPr sz="1350">
                <a:latin typeface="Slate Pro" panose="02000506040000020004" pitchFamily="2" charset="0"/>
                <a:cs typeface="Arial"/>
                <a:sym typeface="Slate Pro" panose="02000506040000020004" pitchFamily="2" charset="0"/>
              </a:endParaRPr>
            </a:p>
          </p:txBody>
        </p:sp>
        <p:pic>
          <p:nvPicPr>
            <p:cNvPr id="36" name="Graphic 35" descr="Meeting outline">
              <a:extLst>
                <a:ext uri="{FF2B5EF4-FFF2-40B4-BE49-F238E27FC236}">
                  <a16:creationId xmlns:a16="http://schemas.microsoft.com/office/drawing/2014/main" id="{F88432EB-8367-4C42-00BE-9E44707AA5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81269" y="5361624"/>
              <a:ext cx="1071773" cy="1071773"/>
            </a:xfrm>
            <a:prstGeom prst="rect">
              <a:avLst/>
            </a:prstGeom>
          </p:spPr>
        </p:pic>
      </p:grpSp>
      <p:grpSp>
        <p:nvGrpSpPr>
          <p:cNvPr id="33" name="Group 32">
            <a:extLst>
              <a:ext uri="{FF2B5EF4-FFF2-40B4-BE49-F238E27FC236}">
                <a16:creationId xmlns:a16="http://schemas.microsoft.com/office/drawing/2014/main" id="{BC8931F2-A774-DA4E-F37C-7EA9C4818BD8}"/>
              </a:ext>
            </a:extLst>
          </p:cNvPr>
          <p:cNvGrpSpPr/>
          <p:nvPr/>
        </p:nvGrpSpPr>
        <p:grpSpPr>
          <a:xfrm>
            <a:off x="8600961" y="5186577"/>
            <a:ext cx="2103120" cy="1859280"/>
            <a:chOff x="8600961" y="5186577"/>
            <a:chExt cx="2103120" cy="1859280"/>
          </a:xfrm>
        </p:grpSpPr>
        <p:sp>
          <p:nvSpPr>
            <p:cNvPr id="37" name="object 27">
              <a:extLst>
                <a:ext uri="{FF2B5EF4-FFF2-40B4-BE49-F238E27FC236}">
                  <a16:creationId xmlns:a16="http://schemas.microsoft.com/office/drawing/2014/main" id="{F9500D35-051F-AF17-49A0-5EA7B81864CC}"/>
                </a:ext>
              </a:extLst>
            </p:cNvPr>
            <p:cNvSpPr/>
            <p:nvPr/>
          </p:nvSpPr>
          <p:spPr>
            <a:xfrm>
              <a:off x="8600961" y="5186577"/>
              <a:ext cx="2103120" cy="1859280"/>
            </a:xfrm>
            <a:custGeom>
              <a:avLst/>
              <a:gdLst/>
              <a:ahLst/>
              <a:cxnLst/>
              <a:rect l="l" t="t" r="r" b="b"/>
              <a:pathLst>
                <a:path w="2132965" h="1859279">
                  <a:moveTo>
                    <a:pt x="2132812" y="0"/>
                  </a:moveTo>
                  <a:lnTo>
                    <a:pt x="0" y="0"/>
                  </a:lnTo>
                  <a:lnTo>
                    <a:pt x="0" y="1858876"/>
                  </a:lnTo>
                  <a:lnTo>
                    <a:pt x="2132812" y="1858876"/>
                  </a:lnTo>
                  <a:lnTo>
                    <a:pt x="2132812" y="0"/>
                  </a:lnTo>
                  <a:close/>
                </a:path>
              </a:pathLst>
            </a:custGeom>
            <a:solidFill>
              <a:srgbClr val="5A87C5"/>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38" name="object 28">
              <a:extLst>
                <a:ext uri="{FF2B5EF4-FFF2-40B4-BE49-F238E27FC236}">
                  <a16:creationId xmlns:a16="http://schemas.microsoft.com/office/drawing/2014/main" id="{2BA12654-0689-69C4-8767-D2DCEFA145D1}"/>
                </a:ext>
              </a:extLst>
            </p:cNvPr>
            <p:cNvSpPr txBox="1"/>
            <p:nvPr/>
          </p:nvSpPr>
          <p:spPr>
            <a:xfrm>
              <a:off x="8915091" y="6519610"/>
              <a:ext cx="1422837" cy="427040"/>
            </a:xfrm>
            <a:prstGeom prst="rect">
              <a:avLst/>
            </a:prstGeom>
          </p:spPr>
          <p:txBody>
            <a:bodyPr vert="horz" wrap="square" lIns="0" tIns="11430" rIns="0" bIns="0" rtlCol="0">
              <a:spAutoFit/>
            </a:bodyPr>
            <a:lstStyle/>
            <a:p>
              <a:pPr algn="ctr">
                <a:spcBef>
                  <a:spcPts val="90"/>
                </a:spcBef>
              </a:pPr>
              <a:r>
                <a:rPr lang="en-US" sz="1350" b="1" spc="-30">
                  <a:solidFill>
                    <a:srgbClr val="FFFFFF"/>
                  </a:solidFill>
                  <a:latin typeface="Slate Pro" panose="02000506040000020004" pitchFamily="2" charset="0"/>
                  <a:cs typeface="Arial"/>
                  <a:sym typeface="Slate Pro" panose="02000506040000020004" pitchFamily="2" charset="0"/>
                </a:rPr>
                <a:t>Product Launch Bulletins</a:t>
              </a:r>
              <a:endParaRPr sz="1350">
                <a:latin typeface="Slate Pro" panose="02000506040000020004" pitchFamily="2" charset="0"/>
                <a:cs typeface="Arial"/>
                <a:sym typeface="Slate Pro" panose="02000506040000020004" pitchFamily="2" charset="0"/>
              </a:endParaRPr>
            </a:p>
          </p:txBody>
        </p:sp>
        <p:pic>
          <p:nvPicPr>
            <p:cNvPr id="41" name="Graphic 40" descr="Megaphone outline">
              <a:extLst>
                <a:ext uri="{FF2B5EF4-FFF2-40B4-BE49-F238E27FC236}">
                  <a16:creationId xmlns:a16="http://schemas.microsoft.com/office/drawing/2014/main" id="{55777182-E70D-38EE-A911-49C399C5087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44437" y="5311156"/>
              <a:ext cx="1164146" cy="1164146"/>
            </a:xfrm>
            <a:prstGeom prst="rect">
              <a:avLst/>
            </a:prstGeom>
          </p:spPr>
        </p:pic>
      </p:grpSp>
      <p:sp>
        <p:nvSpPr>
          <p:cNvPr id="5" name="Holder 4">
            <a:extLst>
              <a:ext uri="{FF2B5EF4-FFF2-40B4-BE49-F238E27FC236}">
                <a16:creationId xmlns:a16="http://schemas.microsoft.com/office/drawing/2014/main" id="{78048893-5556-BCE2-B127-CFAFA369220B}"/>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44" name="Group 43">
            <a:extLst>
              <a:ext uri="{FF2B5EF4-FFF2-40B4-BE49-F238E27FC236}">
                <a16:creationId xmlns:a16="http://schemas.microsoft.com/office/drawing/2014/main" id="{8C09BC00-C88C-B480-B508-FC0A2D688CA2}"/>
              </a:ext>
            </a:extLst>
          </p:cNvPr>
          <p:cNvGrpSpPr/>
          <p:nvPr/>
        </p:nvGrpSpPr>
        <p:grpSpPr>
          <a:xfrm>
            <a:off x="2149944" y="5190185"/>
            <a:ext cx="2103120" cy="1859280"/>
            <a:chOff x="2149944" y="5190185"/>
            <a:chExt cx="2103120" cy="1859280"/>
          </a:xfrm>
        </p:grpSpPr>
        <p:grpSp>
          <p:nvGrpSpPr>
            <p:cNvPr id="40" name="Group 39">
              <a:extLst>
                <a:ext uri="{FF2B5EF4-FFF2-40B4-BE49-F238E27FC236}">
                  <a16:creationId xmlns:a16="http://schemas.microsoft.com/office/drawing/2014/main" id="{C704111E-7EFB-F0E2-4704-F2457254C217}"/>
                </a:ext>
              </a:extLst>
            </p:cNvPr>
            <p:cNvGrpSpPr/>
            <p:nvPr/>
          </p:nvGrpSpPr>
          <p:grpSpPr>
            <a:xfrm>
              <a:off x="2149944" y="5190185"/>
              <a:ext cx="2103120" cy="1859280"/>
              <a:chOff x="2149944" y="5190185"/>
              <a:chExt cx="2103120" cy="1859280"/>
            </a:xfrm>
          </p:grpSpPr>
          <p:sp>
            <p:nvSpPr>
              <p:cNvPr id="18" name="object 18"/>
              <p:cNvSpPr/>
              <p:nvPr/>
            </p:nvSpPr>
            <p:spPr>
              <a:xfrm>
                <a:off x="2149944" y="5190185"/>
                <a:ext cx="2103120" cy="1859280"/>
              </a:xfrm>
              <a:custGeom>
                <a:avLst/>
                <a:gdLst/>
                <a:ahLst/>
                <a:cxnLst/>
                <a:rect l="l" t="t" r="r" b="b"/>
                <a:pathLst>
                  <a:path w="2132965" h="1859279">
                    <a:moveTo>
                      <a:pt x="2132799" y="0"/>
                    </a:moveTo>
                    <a:lnTo>
                      <a:pt x="0" y="0"/>
                    </a:lnTo>
                    <a:lnTo>
                      <a:pt x="0" y="1858871"/>
                    </a:lnTo>
                    <a:lnTo>
                      <a:pt x="2132799" y="1858871"/>
                    </a:lnTo>
                    <a:lnTo>
                      <a:pt x="2132799" y="0"/>
                    </a:lnTo>
                    <a:close/>
                  </a:path>
                </a:pathLst>
              </a:custGeom>
              <a:solidFill>
                <a:srgbClr val="38639F"/>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1" name="object 21"/>
              <p:cNvSpPr/>
              <p:nvPr/>
            </p:nvSpPr>
            <p:spPr>
              <a:xfrm>
                <a:off x="2618384" y="5418404"/>
                <a:ext cx="1196340" cy="958215"/>
              </a:xfrm>
              <a:custGeom>
                <a:avLst/>
                <a:gdLst/>
                <a:ahLst/>
                <a:cxnLst/>
                <a:rect l="l" t="t" r="r" b="b"/>
                <a:pathLst>
                  <a:path w="1196339" h="958214">
                    <a:moveTo>
                      <a:pt x="785571" y="507288"/>
                    </a:moveTo>
                    <a:lnTo>
                      <a:pt x="785507" y="504520"/>
                    </a:lnTo>
                    <a:lnTo>
                      <a:pt x="785075" y="492607"/>
                    </a:lnTo>
                    <a:lnTo>
                      <a:pt x="784225" y="484873"/>
                    </a:lnTo>
                    <a:lnTo>
                      <a:pt x="783501" y="478231"/>
                    </a:lnTo>
                    <a:lnTo>
                      <a:pt x="771093" y="439966"/>
                    </a:lnTo>
                    <a:lnTo>
                      <a:pt x="759841" y="436638"/>
                    </a:lnTo>
                    <a:lnTo>
                      <a:pt x="753770" y="437934"/>
                    </a:lnTo>
                    <a:lnTo>
                      <a:pt x="750824" y="440448"/>
                    </a:lnTo>
                    <a:lnTo>
                      <a:pt x="750824" y="507288"/>
                    </a:lnTo>
                    <a:lnTo>
                      <a:pt x="745591" y="549935"/>
                    </a:lnTo>
                    <a:lnTo>
                      <a:pt x="730123" y="588505"/>
                    </a:lnTo>
                    <a:lnTo>
                      <a:pt x="705878" y="621538"/>
                    </a:lnTo>
                    <a:lnTo>
                      <a:pt x="674331" y="647598"/>
                    </a:lnTo>
                    <a:lnTo>
                      <a:pt x="677113" y="639368"/>
                    </a:lnTo>
                    <a:lnTo>
                      <a:pt x="679132" y="630821"/>
                    </a:lnTo>
                    <a:lnTo>
                      <a:pt x="680339" y="621995"/>
                    </a:lnTo>
                    <a:lnTo>
                      <a:pt x="680681" y="612940"/>
                    </a:lnTo>
                    <a:lnTo>
                      <a:pt x="678510" y="586854"/>
                    </a:lnTo>
                    <a:lnTo>
                      <a:pt x="670344" y="566305"/>
                    </a:lnTo>
                    <a:lnTo>
                      <a:pt x="669048" y="563067"/>
                    </a:lnTo>
                    <a:lnTo>
                      <a:pt x="653059" y="542937"/>
                    </a:lnTo>
                    <a:lnTo>
                      <a:pt x="645871" y="537972"/>
                    </a:lnTo>
                    <a:lnTo>
                      <a:pt x="645871" y="609714"/>
                    </a:lnTo>
                    <a:lnTo>
                      <a:pt x="645858" y="612940"/>
                    </a:lnTo>
                    <a:lnTo>
                      <a:pt x="641819" y="635330"/>
                    </a:lnTo>
                    <a:lnTo>
                      <a:pt x="629869" y="653897"/>
                    </a:lnTo>
                    <a:lnTo>
                      <a:pt x="611847" y="666635"/>
                    </a:lnTo>
                    <a:lnTo>
                      <a:pt x="589584" y="671614"/>
                    </a:lnTo>
                    <a:lnTo>
                      <a:pt x="587032" y="671614"/>
                    </a:lnTo>
                    <a:lnTo>
                      <a:pt x="545211" y="654011"/>
                    </a:lnTo>
                    <a:lnTo>
                      <a:pt x="540740" y="648512"/>
                    </a:lnTo>
                    <a:lnTo>
                      <a:pt x="537806" y="644906"/>
                    </a:lnTo>
                    <a:lnTo>
                      <a:pt x="532409" y="634682"/>
                    </a:lnTo>
                    <a:lnTo>
                      <a:pt x="529107" y="623582"/>
                    </a:lnTo>
                    <a:lnTo>
                      <a:pt x="528129" y="612940"/>
                    </a:lnTo>
                    <a:lnTo>
                      <a:pt x="528116" y="611187"/>
                    </a:lnTo>
                    <a:lnTo>
                      <a:pt x="531431" y="583742"/>
                    </a:lnTo>
                    <a:lnTo>
                      <a:pt x="540639" y="557301"/>
                    </a:lnTo>
                    <a:lnTo>
                      <a:pt x="555066" y="533615"/>
                    </a:lnTo>
                    <a:lnTo>
                      <a:pt x="574192" y="513765"/>
                    </a:lnTo>
                    <a:lnTo>
                      <a:pt x="572414" y="529437"/>
                    </a:lnTo>
                    <a:lnTo>
                      <a:pt x="572389" y="531723"/>
                    </a:lnTo>
                    <a:lnTo>
                      <a:pt x="583615" y="579043"/>
                    </a:lnTo>
                    <a:lnTo>
                      <a:pt x="599744" y="589000"/>
                    </a:lnTo>
                    <a:lnTo>
                      <a:pt x="604837" y="588010"/>
                    </a:lnTo>
                    <a:lnTo>
                      <a:pt x="626986" y="566305"/>
                    </a:lnTo>
                    <a:lnTo>
                      <a:pt x="635609" y="575437"/>
                    </a:lnTo>
                    <a:lnTo>
                      <a:pt x="641819" y="586257"/>
                    </a:lnTo>
                    <a:lnTo>
                      <a:pt x="645337" y="598335"/>
                    </a:lnTo>
                    <a:lnTo>
                      <a:pt x="645871" y="609714"/>
                    </a:lnTo>
                    <a:lnTo>
                      <a:pt x="645871" y="537972"/>
                    </a:lnTo>
                    <a:lnTo>
                      <a:pt x="636854" y="531723"/>
                    </a:lnTo>
                    <a:lnTo>
                      <a:pt x="631266" y="527850"/>
                    </a:lnTo>
                    <a:lnTo>
                      <a:pt x="630567" y="527532"/>
                    </a:lnTo>
                    <a:lnTo>
                      <a:pt x="629145" y="526999"/>
                    </a:lnTo>
                    <a:lnTo>
                      <a:pt x="622731" y="525094"/>
                    </a:lnTo>
                    <a:lnTo>
                      <a:pt x="616712" y="525691"/>
                    </a:lnTo>
                    <a:lnTo>
                      <a:pt x="609841" y="529437"/>
                    </a:lnTo>
                    <a:lnTo>
                      <a:pt x="608342" y="530517"/>
                    </a:lnTo>
                    <a:lnTo>
                      <a:pt x="607009" y="531723"/>
                    </a:lnTo>
                    <a:lnTo>
                      <a:pt x="607898" y="522351"/>
                    </a:lnTo>
                    <a:lnTo>
                      <a:pt x="610019" y="513765"/>
                    </a:lnTo>
                    <a:lnTo>
                      <a:pt x="610146" y="513219"/>
                    </a:lnTo>
                    <a:lnTo>
                      <a:pt x="613752" y="504520"/>
                    </a:lnTo>
                    <a:lnTo>
                      <a:pt x="618680" y="496417"/>
                    </a:lnTo>
                    <a:lnTo>
                      <a:pt x="623443" y="490232"/>
                    </a:lnTo>
                    <a:lnTo>
                      <a:pt x="624598" y="482155"/>
                    </a:lnTo>
                    <a:lnTo>
                      <a:pt x="621728" y="474624"/>
                    </a:lnTo>
                    <a:lnTo>
                      <a:pt x="616915" y="467245"/>
                    </a:lnTo>
                    <a:lnTo>
                      <a:pt x="609892" y="462432"/>
                    </a:lnTo>
                    <a:lnTo>
                      <a:pt x="601599" y="460616"/>
                    </a:lnTo>
                    <a:lnTo>
                      <a:pt x="592937" y="462191"/>
                    </a:lnTo>
                    <a:lnTo>
                      <a:pt x="552094" y="486791"/>
                    </a:lnTo>
                    <a:lnTo>
                      <a:pt x="520890" y="521182"/>
                    </a:lnTo>
                    <a:lnTo>
                      <a:pt x="500735" y="562991"/>
                    </a:lnTo>
                    <a:lnTo>
                      <a:pt x="493280" y="609714"/>
                    </a:lnTo>
                    <a:lnTo>
                      <a:pt x="493293" y="612940"/>
                    </a:lnTo>
                    <a:lnTo>
                      <a:pt x="493687" y="621284"/>
                    </a:lnTo>
                    <a:lnTo>
                      <a:pt x="495058" y="630631"/>
                    </a:lnTo>
                    <a:lnTo>
                      <a:pt x="497332" y="639724"/>
                    </a:lnTo>
                    <a:lnTo>
                      <a:pt x="500494" y="648512"/>
                    </a:lnTo>
                    <a:lnTo>
                      <a:pt x="470052" y="624090"/>
                    </a:lnTo>
                    <a:lnTo>
                      <a:pt x="446189" y="593051"/>
                    </a:lnTo>
                    <a:lnTo>
                      <a:pt x="430174" y="556590"/>
                    </a:lnTo>
                    <a:lnTo>
                      <a:pt x="423278" y="515861"/>
                    </a:lnTo>
                    <a:lnTo>
                      <a:pt x="423189" y="514350"/>
                    </a:lnTo>
                    <a:lnTo>
                      <a:pt x="423252" y="505460"/>
                    </a:lnTo>
                    <a:lnTo>
                      <a:pt x="425754" y="477380"/>
                    </a:lnTo>
                    <a:lnTo>
                      <a:pt x="433578" y="449008"/>
                    </a:lnTo>
                    <a:lnTo>
                      <a:pt x="446303" y="422605"/>
                    </a:lnTo>
                    <a:lnTo>
                      <a:pt x="463638" y="398805"/>
                    </a:lnTo>
                    <a:lnTo>
                      <a:pt x="469773" y="411111"/>
                    </a:lnTo>
                    <a:lnTo>
                      <a:pt x="476770" y="422948"/>
                    </a:lnTo>
                    <a:lnTo>
                      <a:pt x="484606" y="434314"/>
                    </a:lnTo>
                    <a:lnTo>
                      <a:pt x="493280" y="445173"/>
                    </a:lnTo>
                    <a:lnTo>
                      <a:pt x="496976" y="449478"/>
                    </a:lnTo>
                    <a:lnTo>
                      <a:pt x="502513" y="451700"/>
                    </a:lnTo>
                    <a:lnTo>
                      <a:pt x="513816" y="450596"/>
                    </a:lnTo>
                    <a:lnTo>
                      <a:pt x="518820" y="447306"/>
                    </a:lnTo>
                    <a:lnTo>
                      <a:pt x="521601" y="442353"/>
                    </a:lnTo>
                    <a:lnTo>
                      <a:pt x="532676" y="419265"/>
                    </a:lnTo>
                    <a:lnTo>
                      <a:pt x="539280" y="399224"/>
                    </a:lnTo>
                    <a:lnTo>
                      <a:pt x="540677" y="394995"/>
                    </a:lnTo>
                    <a:lnTo>
                      <a:pt x="545528" y="369900"/>
                    </a:lnTo>
                    <a:lnTo>
                      <a:pt x="547128" y="344322"/>
                    </a:lnTo>
                    <a:lnTo>
                      <a:pt x="546354" y="326580"/>
                    </a:lnTo>
                    <a:lnTo>
                      <a:pt x="544118" y="308991"/>
                    </a:lnTo>
                    <a:lnTo>
                      <a:pt x="540435" y="291680"/>
                    </a:lnTo>
                    <a:lnTo>
                      <a:pt x="535330" y="274726"/>
                    </a:lnTo>
                    <a:lnTo>
                      <a:pt x="576554" y="294208"/>
                    </a:lnTo>
                    <a:lnTo>
                      <a:pt x="612457" y="321297"/>
                    </a:lnTo>
                    <a:lnTo>
                      <a:pt x="642086" y="354876"/>
                    </a:lnTo>
                    <a:lnTo>
                      <a:pt x="664514" y="393852"/>
                    </a:lnTo>
                    <a:lnTo>
                      <a:pt x="678815" y="437108"/>
                    </a:lnTo>
                    <a:lnTo>
                      <a:pt x="684047" y="483539"/>
                    </a:lnTo>
                    <a:lnTo>
                      <a:pt x="684022" y="485597"/>
                    </a:lnTo>
                    <a:lnTo>
                      <a:pt x="683552" y="490829"/>
                    </a:lnTo>
                    <a:lnTo>
                      <a:pt x="683475" y="492607"/>
                    </a:lnTo>
                    <a:lnTo>
                      <a:pt x="685838" y="498157"/>
                    </a:lnTo>
                    <a:lnTo>
                      <a:pt x="694944" y="505460"/>
                    </a:lnTo>
                    <a:lnTo>
                      <a:pt x="701040" y="506590"/>
                    </a:lnTo>
                    <a:lnTo>
                      <a:pt x="706577" y="504799"/>
                    </a:lnTo>
                    <a:lnTo>
                      <a:pt x="717765" y="500799"/>
                    </a:lnTo>
                    <a:lnTo>
                      <a:pt x="728624" y="496138"/>
                    </a:lnTo>
                    <a:lnTo>
                      <a:pt x="739152" y="490829"/>
                    </a:lnTo>
                    <a:lnTo>
                      <a:pt x="749312" y="484873"/>
                    </a:lnTo>
                    <a:lnTo>
                      <a:pt x="750328" y="492239"/>
                    </a:lnTo>
                    <a:lnTo>
                      <a:pt x="750735" y="498157"/>
                    </a:lnTo>
                    <a:lnTo>
                      <a:pt x="750824" y="507288"/>
                    </a:lnTo>
                    <a:lnTo>
                      <a:pt x="750824" y="440448"/>
                    </a:lnTo>
                    <a:lnTo>
                      <a:pt x="717854" y="462597"/>
                    </a:lnTo>
                    <a:lnTo>
                      <a:pt x="709066" y="414731"/>
                    </a:lnTo>
                    <a:lnTo>
                      <a:pt x="691832" y="370192"/>
                    </a:lnTo>
                    <a:lnTo>
                      <a:pt x="666978" y="329946"/>
                    </a:lnTo>
                    <a:lnTo>
                      <a:pt x="635317" y="294982"/>
                    </a:lnTo>
                    <a:lnTo>
                      <a:pt x="597662" y="266255"/>
                    </a:lnTo>
                    <a:lnTo>
                      <a:pt x="554824" y="244741"/>
                    </a:lnTo>
                    <a:lnTo>
                      <a:pt x="507619" y="231419"/>
                    </a:lnTo>
                    <a:lnTo>
                      <a:pt x="500989" y="230187"/>
                    </a:lnTo>
                    <a:lnTo>
                      <a:pt x="494245" y="232968"/>
                    </a:lnTo>
                    <a:lnTo>
                      <a:pt x="486448" y="244005"/>
                    </a:lnTo>
                    <a:lnTo>
                      <a:pt x="486079" y="251294"/>
                    </a:lnTo>
                    <a:lnTo>
                      <a:pt x="489394" y="257187"/>
                    </a:lnTo>
                    <a:lnTo>
                      <a:pt x="499300" y="277723"/>
                    </a:lnTo>
                    <a:lnTo>
                      <a:pt x="506476" y="299300"/>
                    </a:lnTo>
                    <a:lnTo>
                      <a:pt x="510844" y="321627"/>
                    </a:lnTo>
                    <a:lnTo>
                      <a:pt x="512343" y="344385"/>
                    </a:lnTo>
                    <a:lnTo>
                      <a:pt x="511771" y="358381"/>
                    </a:lnTo>
                    <a:lnTo>
                      <a:pt x="510006" y="372300"/>
                    </a:lnTo>
                    <a:lnTo>
                      <a:pt x="507098" y="385876"/>
                    </a:lnTo>
                    <a:lnTo>
                      <a:pt x="503047" y="399224"/>
                    </a:lnTo>
                    <a:lnTo>
                      <a:pt x="502818" y="398805"/>
                    </a:lnTo>
                    <a:lnTo>
                      <a:pt x="498284" y="390537"/>
                    </a:lnTo>
                    <a:lnTo>
                      <a:pt x="494055" y="381558"/>
                    </a:lnTo>
                    <a:lnTo>
                      <a:pt x="490359" y="372237"/>
                    </a:lnTo>
                    <a:lnTo>
                      <a:pt x="487260" y="362775"/>
                    </a:lnTo>
                    <a:lnTo>
                      <a:pt x="485609" y="357136"/>
                    </a:lnTo>
                    <a:lnTo>
                      <a:pt x="481228" y="352717"/>
                    </a:lnTo>
                    <a:lnTo>
                      <a:pt x="470027" y="349288"/>
                    </a:lnTo>
                    <a:lnTo>
                      <a:pt x="463956" y="350545"/>
                    </a:lnTo>
                    <a:lnTo>
                      <a:pt x="459447" y="354304"/>
                    </a:lnTo>
                    <a:lnTo>
                      <a:pt x="429209" y="385876"/>
                    </a:lnTo>
                    <a:lnTo>
                      <a:pt x="406857" y="422757"/>
                    </a:lnTo>
                    <a:lnTo>
                      <a:pt x="393026" y="463626"/>
                    </a:lnTo>
                    <a:lnTo>
                      <a:pt x="388505" y="505460"/>
                    </a:lnTo>
                    <a:lnTo>
                      <a:pt x="388429" y="515861"/>
                    </a:lnTo>
                    <a:lnTo>
                      <a:pt x="388543" y="517690"/>
                    </a:lnTo>
                    <a:lnTo>
                      <a:pt x="395452" y="561962"/>
                    </a:lnTo>
                    <a:lnTo>
                      <a:pt x="411327" y="602284"/>
                    </a:lnTo>
                    <a:lnTo>
                      <a:pt x="435076" y="637603"/>
                    </a:lnTo>
                    <a:lnTo>
                      <a:pt x="465594" y="666889"/>
                    </a:lnTo>
                    <a:lnTo>
                      <a:pt x="501815" y="689102"/>
                    </a:lnTo>
                    <a:lnTo>
                      <a:pt x="542620" y="703186"/>
                    </a:lnTo>
                    <a:lnTo>
                      <a:pt x="586917" y="708113"/>
                    </a:lnTo>
                    <a:lnTo>
                      <a:pt x="588683" y="708113"/>
                    </a:lnTo>
                    <a:lnTo>
                      <a:pt x="634111" y="702437"/>
                    </a:lnTo>
                    <a:lnTo>
                      <a:pt x="675767" y="687057"/>
                    </a:lnTo>
                    <a:lnTo>
                      <a:pt x="712444" y="663181"/>
                    </a:lnTo>
                    <a:lnTo>
                      <a:pt x="742950" y="632028"/>
                    </a:lnTo>
                    <a:lnTo>
                      <a:pt x="766102" y="594817"/>
                    </a:lnTo>
                    <a:lnTo>
                      <a:pt x="780719" y="552767"/>
                    </a:lnTo>
                    <a:lnTo>
                      <a:pt x="785571" y="507288"/>
                    </a:lnTo>
                    <a:close/>
                  </a:path>
                  <a:path w="1196339" h="958214">
                    <a:moveTo>
                      <a:pt x="959612" y="174244"/>
                    </a:moveTo>
                    <a:lnTo>
                      <a:pt x="921943" y="127317"/>
                    </a:lnTo>
                    <a:lnTo>
                      <a:pt x="885837" y="96875"/>
                    </a:lnTo>
                    <a:lnTo>
                      <a:pt x="847267" y="70383"/>
                    </a:lnTo>
                    <a:lnTo>
                      <a:pt x="806551" y="47942"/>
                    </a:lnTo>
                    <a:lnTo>
                      <a:pt x="764006" y="29654"/>
                    </a:lnTo>
                    <a:lnTo>
                      <a:pt x="719937" y="15621"/>
                    </a:lnTo>
                    <a:lnTo>
                      <a:pt x="674674" y="5930"/>
                    </a:lnTo>
                    <a:lnTo>
                      <a:pt x="628535" y="685"/>
                    </a:lnTo>
                    <a:lnTo>
                      <a:pt x="581825" y="0"/>
                    </a:lnTo>
                    <a:lnTo>
                      <a:pt x="534860" y="3975"/>
                    </a:lnTo>
                    <a:lnTo>
                      <a:pt x="487959" y="12687"/>
                    </a:lnTo>
                    <a:lnTo>
                      <a:pt x="435648" y="28257"/>
                    </a:lnTo>
                    <a:lnTo>
                      <a:pt x="390525" y="46913"/>
                    </a:lnTo>
                    <a:lnTo>
                      <a:pt x="347751" y="69761"/>
                    </a:lnTo>
                    <a:lnTo>
                      <a:pt x="307581" y="96634"/>
                    </a:lnTo>
                    <a:lnTo>
                      <a:pt x="270230" y="127330"/>
                    </a:lnTo>
                    <a:lnTo>
                      <a:pt x="235953" y="161696"/>
                    </a:lnTo>
                    <a:lnTo>
                      <a:pt x="204965" y="199555"/>
                    </a:lnTo>
                    <a:lnTo>
                      <a:pt x="177520" y="240728"/>
                    </a:lnTo>
                    <a:lnTo>
                      <a:pt x="152984" y="286969"/>
                    </a:lnTo>
                    <a:lnTo>
                      <a:pt x="133578" y="334949"/>
                    </a:lnTo>
                    <a:lnTo>
                      <a:pt x="119354" y="384327"/>
                    </a:lnTo>
                    <a:lnTo>
                      <a:pt x="110363" y="434759"/>
                    </a:lnTo>
                    <a:lnTo>
                      <a:pt x="106629" y="485902"/>
                    </a:lnTo>
                    <a:lnTo>
                      <a:pt x="108216" y="537413"/>
                    </a:lnTo>
                    <a:lnTo>
                      <a:pt x="31508" y="422617"/>
                    </a:lnTo>
                    <a:lnTo>
                      <a:pt x="26606" y="417741"/>
                    </a:lnTo>
                    <a:lnTo>
                      <a:pt x="20434" y="415213"/>
                    </a:lnTo>
                    <a:lnTo>
                      <a:pt x="13766" y="415201"/>
                    </a:lnTo>
                    <a:lnTo>
                      <a:pt x="7391" y="417855"/>
                    </a:lnTo>
                    <a:lnTo>
                      <a:pt x="2527" y="422783"/>
                    </a:lnTo>
                    <a:lnTo>
                      <a:pt x="12" y="428980"/>
                    </a:lnTo>
                    <a:lnTo>
                      <a:pt x="0" y="435673"/>
                    </a:lnTo>
                    <a:lnTo>
                      <a:pt x="2628" y="442074"/>
                    </a:lnTo>
                    <a:lnTo>
                      <a:pt x="124726" y="624789"/>
                    </a:lnTo>
                    <a:lnTo>
                      <a:pt x="139585" y="631101"/>
                    </a:lnTo>
                    <a:lnTo>
                      <a:pt x="143167" y="630389"/>
                    </a:lnTo>
                    <a:lnTo>
                      <a:pt x="291071" y="457200"/>
                    </a:lnTo>
                    <a:lnTo>
                      <a:pt x="295033" y="444461"/>
                    </a:lnTo>
                    <a:lnTo>
                      <a:pt x="293192" y="438035"/>
                    </a:lnTo>
                    <a:lnTo>
                      <a:pt x="147967" y="574700"/>
                    </a:lnTo>
                    <a:lnTo>
                      <a:pt x="142392" y="527875"/>
                    </a:lnTo>
                    <a:lnTo>
                      <a:pt x="141566" y="481114"/>
                    </a:lnTo>
                    <a:lnTo>
                      <a:pt x="145453" y="434721"/>
                    </a:lnTo>
                    <a:lnTo>
                      <a:pt x="154012" y="388988"/>
                    </a:lnTo>
                    <a:lnTo>
                      <a:pt x="167208" y="344208"/>
                    </a:lnTo>
                    <a:lnTo>
                      <a:pt x="184988" y="300685"/>
                    </a:lnTo>
                    <a:lnTo>
                      <a:pt x="207327" y="258711"/>
                    </a:lnTo>
                    <a:lnTo>
                      <a:pt x="236778" y="215201"/>
                    </a:lnTo>
                    <a:lnTo>
                      <a:pt x="270471" y="175755"/>
                    </a:lnTo>
                    <a:lnTo>
                      <a:pt x="308076" y="140601"/>
                    </a:lnTo>
                    <a:lnTo>
                      <a:pt x="349275" y="109994"/>
                    </a:lnTo>
                    <a:lnTo>
                      <a:pt x="393725" y="84188"/>
                    </a:lnTo>
                    <a:lnTo>
                      <a:pt x="441109" y="63398"/>
                    </a:lnTo>
                    <a:lnTo>
                      <a:pt x="491083" y="47879"/>
                    </a:lnTo>
                    <a:lnTo>
                      <a:pt x="543788" y="38023"/>
                    </a:lnTo>
                    <a:lnTo>
                      <a:pt x="591667" y="34696"/>
                    </a:lnTo>
                    <a:lnTo>
                      <a:pt x="639203" y="36563"/>
                    </a:lnTo>
                    <a:lnTo>
                      <a:pt x="685977" y="43497"/>
                    </a:lnTo>
                    <a:lnTo>
                      <a:pt x="731621" y="55384"/>
                    </a:lnTo>
                    <a:lnTo>
                      <a:pt x="775754" y="72097"/>
                    </a:lnTo>
                    <a:lnTo>
                      <a:pt x="817956" y="93510"/>
                    </a:lnTo>
                    <a:lnTo>
                      <a:pt x="857859" y="119507"/>
                    </a:lnTo>
                    <a:lnTo>
                      <a:pt x="895083" y="149948"/>
                    </a:lnTo>
                    <a:lnTo>
                      <a:pt x="929220" y="184721"/>
                    </a:lnTo>
                    <a:lnTo>
                      <a:pt x="934720" y="188912"/>
                    </a:lnTo>
                    <a:lnTo>
                      <a:pt x="941171" y="190588"/>
                    </a:lnTo>
                    <a:lnTo>
                      <a:pt x="947775" y="189725"/>
                    </a:lnTo>
                    <a:lnTo>
                      <a:pt x="953770" y="186245"/>
                    </a:lnTo>
                    <a:lnTo>
                      <a:pt x="957935" y="180721"/>
                    </a:lnTo>
                    <a:lnTo>
                      <a:pt x="959612" y="174244"/>
                    </a:lnTo>
                    <a:close/>
                  </a:path>
                  <a:path w="1196339" h="958214">
                    <a:moveTo>
                      <a:pt x="1195920" y="575716"/>
                    </a:moveTo>
                    <a:lnTo>
                      <a:pt x="1193292" y="569302"/>
                    </a:lnTo>
                    <a:lnTo>
                      <a:pt x="1069086" y="383438"/>
                    </a:lnTo>
                    <a:lnTo>
                      <a:pt x="1064082" y="380580"/>
                    </a:lnTo>
                    <a:lnTo>
                      <a:pt x="1053172" y="379907"/>
                    </a:lnTo>
                    <a:lnTo>
                      <a:pt x="1047864" y="382320"/>
                    </a:lnTo>
                    <a:lnTo>
                      <a:pt x="1044257" y="386638"/>
                    </a:lnTo>
                    <a:lnTo>
                      <a:pt x="1042974" y="387781"/>
                    </a:lnTo>
                    <a:lnTo>
                      <a:pt x="1041895" y="389102"/>
                    </a:lnTo>
                    <a:lnTo>
                      <a:pt x="1040993" y="390563"/>
                    </a:lnTo>
                    <a:lnTo>
                      <a:pt x="904849" y="554164"/>
                    </a:lnTo>
                    <a:lnTo>
                      <a:pt x="901547" y="560260"/>
                    </a:lnTo>
                    <a:lnTo>
                      <a:pt x="900874" y="566928"/>
                    </a:lnTo>
                    <a:lnTo>
                      <a:pt x="902728" y="573354"/>
                    </a:lnTo>
                    <a:lnTo>
                      <a:pt x="907046" y="578764"/>
                    </a:lnTo>
                    <a:lnTo>
                      <a:pt x="913117" y="582066"/>
                    </a:lnTo>
                    <a:lnTo>
                      <a:pt x="919759" y="582752"/>
                    </a:lnTo>
                    <a:lnTo>
                      <a:pt x="926160" y="580885"/>
                    </a:lnTo>
                    <a:lnTo>
                      <a:pt x="931545" y="576554"/>
                    </a:lnTo>
                    <a:lnTo>
                      <a:pt x="1042949" y="442696"/>
                    </a:lnTo>
                    <a:lnTo>
                      <a:pt x="1043432" y="492239"/>
                    </a:lnTo>
                    <a:lnTo>
                      <a:pt x="1038542" y="540880"/>
                    </a:lnTo>
                    <a:lnTo>
                      <a:pt x="1028509" y="588251"/>
                    </a:lnTo>
                    <a:lnTo>
                      <a:pt x="1013587" y="633984"/>
                    </a:lnTo>
                    <a:lnTo>
                      <a:pt x="994003" y="677710"/>
                    </a:lnTo>
                    <a:lnTo>
                      <a:pt x="970026" y="719061"/>
                    </a:lnTo>
                    <a:lnTo>
                      <a:pt x="941895" y="757682"/>
                    </a:lnTo>
                    <a:lnTo>
                      <a:pt x="909840" y="793178"/>
                    </a:lnTo>
                    <a:lnTo>
                      <a:pt x="874128" y="825195"/>
                    </a:lnTo>
                    <a:lnTo>
                      <a:pt x="834986" y="853363"/>
                    </a:lnTo>
                    <a:lnTo>
                      <a:pt x="792683" y="877316"/>
                    </a:lnTo>
                    <a:lnTo>
                      <a:pt x="747433" y="896683"/>
                    </a:lnTo>
                    <a:lnTo>
                      <a:pt x="699516" y="911098"/>
                    </a:lnTo>
                    <a:lnTo>
                      <a:pt x="649605" y="920051"/>
                    </a:lnTo>
                    <a:lnTo>
                      <a:pt x="599744" y="923251"/>
                    </a:lnTo>
                    <a:lnTo>
                      <a:pt x="550341" y="920851"/>
                    </a:lnTo>
                    <a:lnTo>
                      <a:pt x="501815" y="912939"/>
                    </a:lnTo>
                    <a:lnTo>
                      <a:pt x="454571" y="899642"/>
                    </a:lnTo>
                    <a:lnTo>
                      <a:pt x="409016" y="881075"/>
                    </a:lnTo>
                    <a:lnTo>
                      <a:pt x="365582" y="857351"/>
                    </a:lnTo>
                    <a:lnTo>
                      <a:pt x="324662" y="828586"/>
                    </a:lnTo>
                    <a:lnTo>
                      <a:pt x="286677" y="794905"/>
                    </a:lnTo>
                    <a:lnTo>
                      <a:pt x="280898" y="791095"/>
                    </a:lnTo>
                    <a:lnTo>
                      <a:pt x="257060" y="807415"/>
                    </a:lnTo>
                    <a:lnTo>
                      <a:pt x="258368" y="813981"/>
                    </a:lnTo>
                    <a:lnTo>
                      <a:pt x="302780" y="855738"/>
                    </a:lnTo>
                    <a:lnTo>
                      <a:pt x="346456" y="886536"/>
                    </a:lnTo>
                    <a:lnTo>
                      <a:pt x="392811" y="912012"/>
                    </a:lnTo>
                    <a:lnTo>
                      <a:pt x="441401" y="932040"/>
                    </a:lnTo>
                    <a:lnTo>
                      <a:pt x="491807" y="946492"/>
                    </a:lnTo>
                    <a:lnTo>
                      <a:pt x="543585" y="955255"/>
                    </a:lnTo>
                    <a:lnTo>
                      <a:pt x="596315" y="958202"/>
                    </a:lnTo>
                    <a:lnTo>
                      <a:pt x="624065" y="957389"/>
                    </a:lnTo>
                    <a:lnTo>
                      <a:pt x="679742" y="950849"/>
                    </a:lnTo>
                    <a:lnTo>
                      <a:pt x="754265" y="931303"/>
                    </a:lnTo>
                    <a:lnTo>
                      <a:pt x="798664" y="913155"/>
                    </a:lnTo>
                    <a:lnTo>
                      <a:pt x="840511" y="890917"/>
                    </a:lnTo>
                    <a:lnTo>
                      <a:pt x="879652" y="864882"/>
                    </a:lnTo>
                    <a:lnTo>
                      <a:pt x="915860" y="835355"/>
                    </a:lnTo>
                    <a:lnTo>
                      <a:pt x="948969" y="802614"/>
                    </a:lnTo>
                    <a:lnTo>
                      <a:pt x="978763" y="766965"/>
                    </a:lnTo>
                    <a:lnTo>
                      <a:pt x="1005052" y="728675"/>
                    </a:lnTo>
                    <a:lnTo>
                      <a:pt x="1027658" y="688060"/>
                    </a:lnTo>
                    <a:lnTo>
                      <a:pt x="1046378" y="645401"/>
                    </a:lnTo>
                    <a:lnTo>
                      <a:pt x="1061008" y="600989"/>
                    </a:lnTo>
                    <a:lnTo>
                      <a:pt x="1071372" y="555117"/>
                    </a:lnTo>
                    <a:lnTo>
                      <a:pt x="1077252" y="508076"/>
                    </a:lnTo>
                    <a:lnTo>
                      <a:pt x="1078484" y="460159"/>
                    </a:lnTo>
                    <a:lnTo>
                      <a:pt x="1167765" y="593775"/>
                    </a:lnTo>
                    <a:lnTo>
                      <a:pt x="1173264" y="596493"/>
                    </a:lnTo>
                    <a:lnTo>
                      <a:pt x="1182192" y="596493"/>
                    </a:lnTo>
                    <a:lnTo>
                      <a:pt x="1185557" y="595528"/>
                    </a:lnTo>
                    <a:lnTo>
                      <a:pt x="1188542" y="593534"/>
                    </a:lnTo>
                    <a:lnTo>
                      <a:pt x="1193393" y="588606"/>
                    </a:lnTo>
                    <a:lnTo>
                      <a:pt x="1195908" y="582409"/>
                    </a:lnTo>
                    <a:lnTo>
                      <a:pt x="1195920" y="575716"/>
                    </a:lnTo>
                    <a:close/>
                  </a:path>
                </a:pathLst>
              </a:custGeom>
              <a:solidFill>
                <a:srgbClr val="FFFFFF"/>
              </a:solidFill>
            </p:spPr>
            <p:txBody>
              <a:bodyPr wrap="square" lIns="0" tIns="0" rIns="0" bIns="0" rtlCol="0"/>
              <a:lstStyle/>
              <a:p>
                <a:endParaRPr>
                  <a:latin typeface="Slate Pro" panose="02000506040000020004" pitchFamily="2" charset="0"/>
                  <a:sym typeface="Slate Pro" panose="02000506040000020004" pitchFamily="2" charset="0"/>
                </a:endParaRPr>
              </a:p>
            </p:txBody>
          </p:sp>
        </p:grpSp>
        <p:sp>
          <p:nvSpPr>
            <p:cNvPr id="42" name="object 28">
              <a:extLst>
                <a:ext uri="{FF2B5EF4-FFF2-40B4-BE49-F238E27FC236}">
                  <a16:creationId xmlns:a16="http://schemas.microsoft.com/office/drawing/2014/main" id="{6B35B3D6-5F8A-F4AF-9892-333FC483030B}"/>
                </a:ext>
              </a:extLst>
            </p:cNvPr>
            <p:cNvSpPr txBox="1"/>
            <p:nvPr/>
          </p:nvSpPr>
          <p:spPr>
            <a:xfrm>
              <a:off x="2489450" y="6528252"/>
              <a:ext cx="1422837" cy="219291"/>
            </a:xfrm>
            <a:prstGeom prst="rect">
              <a:avLst/>
            </a:prstGeom>
          </p:spPr>
          <p:txBody>
            <a:bodyPr vert="horz" wrap="square" lIns="0" tIns="11430" rIns="0" bIns="0" rtlCol="0">
              <a:spAutoFit/>
            </a:bodyPr>
            <a:lstStyle/>
            <a:p>
              <a:pPr algn="ctr">
                <a:spcBef>
                  <a:spcPts val="90"/>
                </a:spcBef>
              </a:pPr>
              <a:r>
                <a:rPr lang="en-US" sz="1350" b="1" spc="-30">
                  <a:solidFill>
                    <a:srgbClr val="FFFFFF"/>
                  </a:solidFill>
                  <a:latin typeface="Slate Pro" panose="02000506040000020004" pitchFamily="2" charset="0"/>
                  <a:cs typeface="Arial"/>
                  <a:sym typeface="Slate Pro" panose="02000506040000020004" pitchFamily="2" charset="0"/>
                </a:rPr>
                <a:t>Email Blasts</a:t>
              </a:r>
              <a:endParaRPr sz="1350">
                <a:latin typeface="Slate Pro" panose="02000506040000020004" pitchFamily="2" charset="0"/>
                <a:cs typeface="Arial"/>
                <a:sym typeface="Slate Pro" panose="02000506040000020004" pitchFamily="2" charset="0"/>
              </a:endParaRPr>
            </a:p>
          </p:txBody>
        </p:sp>
      </p:grpSp>
      <p:sp>
        <p:nvSpPr>
          <p:cNvPr id="43" name="object 28">
            <a:extLst>
              <a:ext uri="{FF2B5EF4-FFF2-40B4-BE49-F238E27FC236}">
                <a16:creationId xmlns:a16="http://schemas.microsoft.com/office/drawing/2014/main" id="{B0FE913F-75D8-A10E-8AB4-D5E977D542C3}"/>
              </a:ext>
            </a:extLst>
          </p:cNvPr>
          <p:cNvSpPr txBox="1"/>
          <p:nvPr/>
        </p:nvSpPr>
        <p:spPr>
          <a:xfrm>
            <a:off x="4629563" y="6528254"/>
            <a:ext cx="1422837" cy="219291"/>
          </a:xfrm>
          <a:prstGeom prst="rect">
            <a:avLst/>
          </a:prstGeom>
        </p:spPr>
        <p:txBody>
          <a:bodyPr vert="horz" wrap="square" lIns="0" tIns="11430" rIns="0" bIns="0" rtlCol="0">
            <a:spAutoFit/>
          </a:bodyPr>
          <a:lstStyle/>
          <a:p>
            <a:pPr algn="ctr">
              <a:spcBef>
                <a:spcPts val="90"/>
              </a:spcBef>
            </a:pPr>
            <a:r>
              <a:rPr lang="en-US" sz="1350" b="1" spc="-30">
                <a:solidFill>
                  <a:srgbClr val="FFFFFF"/>
                </a:solidFill>
                <a:latin typeface="Slate Pro" panose="02000506040000020004" pitchFamily="2" charset="0"/>
                <a:cs typeface="Arial"/>
                <a:sym typeface="Slate Pro" panose="02000506040000020004" pitchFamily="2" charset="0"/>
              </a:rPr>
              <a:t>Webinar Invites</a:t>
            </a:r>
            <a:endParaRPr sz="1350">
              <a:latin typeface="Slate Pro" panose="02000506040000020004" pitchFamily="2" charset="0"/>
              <a:cs typeface="Arial"/>
              <a:sym typeface="Slate Pro" panose="02000506040000020004" pitchFamily="2" charset="0"/>
            </a:endParaRPr>
          </a:p>
        </p:txBody>
      </p:sp>
      <p:grpSp>
        <p:nvGrpSpPr>
          <p:cNvPr id="23" name="Group 22">
            <a:extLst>
              <a:ext uri="{FF2B5EF4-FFF2-40B4-BE49-F238E27FC236}">
                <a16:creationId xmlns:a16="http://schemas.microsoft.com/office/drawing/2014/main" id="{685D141E-13B5-4C76-454F-3D2186F26B69}"/>
              </a:ext>
            </a:extLst>
          </p:cNvPr>
          <p:cNvGrpSpPr/>
          <p:nvPr/>
        </p:nvGrpSpPr>
        <p:grpSpPr>
          <a:xfrm>
            <a:off x="157427" y="7205390"/>
            <a:ext cx="2416310" cy="276999"/>
            <a:chOff x="157428" y="7205390"/>
            <a:chExt cx="2132373" cy="276999"/>
          </a:xfrm>
        </p:grpSpPr>
        <p:sp>
          <p:nvSpPr>
            <p:cNvPr id="24" name="TextBox 23">
              <a:hlinkClick r:id="rId13" action="ppaction://hlinksldjump"/>
              <a:extLst>
                <a:ext uri="{FF2B5EF4-FFF2-40B4-BE49-F238E27FC236}">
                  <a16:creationId xmlns:a16="http://schemas.microsoft.com/office/drawing/2014/main" id="{71A0A3A5-56DD-8A50-31F3-B17D2763B923}"/>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29" name="Arrow: Right 28">
              <a:extLst>
                <a:ext uri="{FF2B5EF4-FFF2-40B4-BE49-F238E27FC236}">
                  <a16:creationId xmlns:a16="http://schemas.microsoft.com/office/drawing/2014/main" id="{B14441A3-132E-4EE2-0B9B-735AF5097C9E}"/>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1AB23CB0-17FC-4CB4-931D-D8D9BB219377}"/>
              </a:ext>
            </a:extLst>
          </p:cNvPr>
          <p:cNvGraphicFramePr>
            <a:graphicFrameLocks noChangeAspect="1"/>
          </p:cNvGraphicFramePr>
          <p:nvPr>
            <p:custDataLst>
              <p:tags r:id="rId1"/>
            </p:custDataLst>
            <p:extLst>
              <p:ext uri="{D42A27DB-BD31-4B8C-83A1-F6EECF244321}">
                <p14:modId xmlns:p14="http://schemas.microsoft.com/office/powerpoint/2010/main" val="3013563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3" name="Object 22" hidden="1">
                        <a:extLst>
                          <a:ext uri="{FF2B5EF4-FFF2-40B4-BE49-F238E27FC236}">
                            <a16:creationId xmlns:a16="http://schemas.microsoft.com/office/drawing/2014/main" id="{1AB23CB0-17FC-4CB4-931D-D8D9BB219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descr="Three darts on bullseye">
            <a:extLst>
              <a:ext uri="{FF2B5EF4-FFF2-40B4-BE49-F238E27FC236}">
                <a16:creationId xmlns:a16="http://schemas.microsoft.com/office/drawing/2014/main" id="{982AD251-8893-219B-9296-D9BC999BA19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5924"/>
          <a:stretch/>
        </p:blipFill>
        <p:spPr>
          <a:xfrm>
            <a:off x="5346700" y="0"/>
            <a:ext cx="5346701" cy="7068312"/>
          </a:xfrm>
          <a:prstGeom prst="rect">
            <a:avLst/>
          </a:prstGeom>
        </p:spPr>
      </p:pic>
      <p:sp>
        <p:nvSpPr>
          <p:cNvPr id="3" name="object 3"/>
          <p:cNvSpPr/>
          <p:nvPr/>
        </p:nvSpPr>
        <p:spPr>
          <a:xfrm>
            <a:off x="-3215" y="-684"/>
            <a:ext cx="5346700" cy="7068300"/>
          </a:xfrm>
          <a:custGeom>
            <a:avLst/>
            <a:gdLst/>
            <a:ahLst/>
            <a:cxnLst/>
            <a:rect l="l" t="t" r="r" b="b"/>
            <a:pathLst>
              <a:path w="4752340" h="7065009">
                <a:moveTo>
                  <a:pt x="4751997" y="0"/>
                </a:moveTo>
                <a:lnTo>
                  <a:pt x="0" y="0"/>
                </a:lnTo>
                <a:lnTo>
                  <a:pt x="0" y="7064997"/>
                </a:lnTo>
                <a:lnTo>
                  <a:pt x="4751997" y="7064997"/>
                </a:lnTo>
                <a:lnTo>
                  <a:pt x="4751997" y="0"/>
                </a:lnTo>
                <a:close/>
              </a:path>
            </a:pathLst>
          </a:custGeom>
          <a:solidFill>
            <a:srgbClr val="4D4F56"/>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5" name="object 5"/>
          <p:cNvSpPr txBox="1">
            <a:spLocks noGrp="1"/>
          </p:cNvSpPr>
          <p:nvPr>
            <p:ph type="title"/>
          </p:nvPr>
        </p:nvSpPr>
        <p:spPr>
          <a:xfrm>
            <a:off x="502920" y="402871"/>
            <a:ext cx="4021572" cy="56297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FFFFFF"/>
                </a:solidFill>
              </a:rPr>
              <a:t>Marketing Resources</a:t>
            </a:r>
          </a:p>
        </p:txBody>
      </p:sp>
      <p:sp>
        <p:nvSpPr>
          <p:cNvPr id="8" name="object 8"/>
          <p:cNvSpPr txBox="1"/>
          <p:nvPr/>
        </p:nvSpPr>
        <p:spPr>
          <a:xfrm>
            <a:off x="498143" y="1606856"/>
            <a:ext cx="4331028" cy="1249381"/>
          </a:xfrm>
          <a:prstGeom prst="rect">
            <a:avLst/>
          </a:prstGeom>
        </p:spPr>
        <p:txBody>
          <a:bodyPr vert="horz" wrap="square" lIns="0" tIns="12700" rIns="0" bIns="0" rtlCol="0">
            <a:spAutoFit/>
          </a:bodyPr>
          <a:lstStyle/>
          <a:p>
            <a:pPr marL="12700" marR="5080" algn="l">
              <a:lnSpc>
                <a:spcPct val="117400"/>
              </a:lnSpc>
              <a:spcBef>
                <a:spcPts val="100"/>
              </a:spcBef>
            </a:pPr>
            <a:r>
              <a:rPr lang="en-US" sz="1400" dirty="0">
                <a:solidFill>
                  <a:srgbClr val="FFFFFF"/>
                </a:solidFill>
                <a:latin typeface="Slate Pro" panose="02000506040000020004" pitchFamily="2" charset="0"/>
                <a:cs typeface="Arial"/>
                <a:sym typeface="Slate Pro" panose="02000506040000020004" pitchFamily="2" charset="0"/>
              </a:rPr>
              <a:t>ACME offers several marketing resources to help Partners target lucrative prospects and champion ACME products in the market. The list below includes just some of the many resources at your disposal. For a full list of marketing resources, please visit the ACME Partner Portal.</a:t>
            </a:r>
          </a:p>
        </p:txBody>
      </p:sp>
      <p:sp>
        <p:nvSpPr>
          <p:cNvPr id="21" name="object 21"/>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8</a:t>
            </a:fld>
            <a:endParaRPr spc="-25"/>
          </a:p>
        </p:txBody>
      </p:sp>
      <p:sp>
        <p:nvSpPr>
          <p:cNvPr id="14" name="Holder 4">
            <a:extLst>
              <a:ext uri="{FF2B5EF4-FFF2-40B4-BE49-F238E27FC236}">
                <a16:creationId xmlns:a16="http://schemas.microsoft.com/office/drawing/2014/main" id="{15D307A9-E86D-0F49-DAE1-972EBBAEEB56}"/>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2" name="Group 1">
            <a:extLst>
              <a:ext uri="{FF2B5EF4-FFF2-40B4-BE49-F238E27FC236}">
                <a16:creationId xmlns:a16="http://schemas.microsoft.com/office/drawing/2014/main" id="{2ECF2E6C-DBEB-892B-9834-AA7FEF5030D2}"/>
              </a:ext>
            </a:extLst>
          </p:cNvPr>
          <p:cNvGrpSpPr/>
          <p:nvPr/>
        </p:nvGrpSpPr>
        <p:grpSpPr>
          <a:xfrm>
            <a:off x="498143" y="3384279"/>
            <a:ext cx="4676566" cy="3509135"/>
            <a:chOff x="416324" y="3403943"/>
            <a:chExt cx="4676566" cy="3509135"/>
          </a:xfrm>
        </p:grpSpPr>
        <p:grpSp>
          <p:nvGrpSpPr>
            <p:cNvPr id="33" name="Group 32">
              <a:extLst>
                <a:ext uri="{FF2B5EF4-FFF2-40B4-BE49-F238E27FC236}">
                  <a16:creationId xmlns:a16="http://schemas.microsoft.com/office/drawing/2014/main" id="{57D1695F-40D1-91A4-E918-14828D3C798D}"/>
                </a:ext>
              </a:extLst>
            </p:cNvPr>
            <p:cNvGrpSpPr/>
            <p:nvPr/>
          </p:nvGrpSpPr>
          <p:grpSpPr>
            <a:xfrm>
              <a:off x="419539" y="5318910"/>
              <a:ext cx="4673351" cy="665315"/>
              <a:chOff x="403337" y="4298568"/>
              <a:chExt cx="4673351" cy="665315"/>
            </a:xfrm>
          </p:grpSpPr>
          <p:sp>
            <p:nvSpPr>
              <p:cNvPr id="9" name="object 9"/>
              <p:cNvSpPr txBox="1"/>
              <p:nvPr/>
            </p:nvSpPr>
            <p:spPr>
              <a:xfrm>
                <a:off x="403337" y="4298568"/>
                <a:ext cx="4673351" cy="259045"/>
              </a:xfrm>
              <a:prstGeom prst="rect">
                <a:avLst/>
              </a:prstGeom>
            </p:spPr>
            <p:txBody>
              <a:bodyPr vert="horz" wrap="square" lIns="0" tIns="12700" rIns="0" bIns="0" rtlCol="0">
                <a:spAutoFit/>
              </a:bodyPr>
              <a:lstStyle/>
              <a:p>
                <a:pPr marL="12700" algn="l">
                  <a:spcBef>
                    <a:spcPts val="100"/>
                  </a:spcBef>
                </a:pPr>
                <a:r>
                  <a:rPr lang="en-US" sz="1600" b="1" spc="-50" dirty="0">
                    <a:solidFill>
                      <a:srgbClr val="FF8800"/>
                    </a:solidFill>
                    <a:latin typeface="Slate Pro" panose="02000506040000020004" pitchFamily="2" charset="0"/>
                    <a:cs typeface="Arial"/>
                    <a:sym typeface="Slate Pro" panose="02000506040000020004" pitchFamily="2" charset="0"/>
                  </a:rPr>
                  <a:t>New Lead Gen Marketing Incentive</a:t>
                </a:r>
                <a:endParaRPr sz="1600" b="1" spc="-50" dirty="0">
                  <a:solidFill>
                    <a:srgbClr val="FF8800"/>
                  </a:solidFill>
                  <a:latin typeface="Slate Pro" panose="02000506040000020004" pitchFamily="2" charset="0"/>
                  <a:cs typeface="Arial"/>
                  <a:sym typeface="Slate Pro" panose="02000506040000020004" pitchFamily="2" charset="0"/>
                </a:endParaRPr>
              </a:p>
            </p:txBody>
          </p:sp>
          <p:sp>
            <p:nvSpPr>
              <p:cNvPr id="10" name="object 10"/>
              <p:cNvSpPr txBox="1"/>
              <p:nvPr/>
            </p:nvSpPr>
            <p:spPr>
              <a:xfrm>
                <a:off x="403337" y="4552232"/>
                <a:ext cx="3465155" cy="411651"/>
              </a:xfrm>
              <a:prstGeom prst="rect">
                <a:avLst/>
              </a:prstGeom>
            </p:spPr>
            <p:txBody>
              <a:bodyPr vert="horz" wrap="square" lIns="0" tIns="41910" rIns="0" bIns="0" rtlCol="0">
                <a:spAutoFit/>
              </a:bodyPr>
              <a:lstStyle/>
              <a:p>
                <a:pPr marL="12700" algn="l">
                  <a:spcBef>
                    <a:spcPts val="330"/>
                  </a:spcBef>
                </a:pPr>
                <a:r>
                  <a:rPr lang="en-US" sz="1200" spc="-10" dirty="0">
                    <a:solidFill>
                      <a:srgbClr val="FFFFFF"/>
                    </a:solidFill>
                    <a:latin typeface="Slate Pro" panose="02000506040000020004" pitchFamily="2" charset="0"/>
                    <a:cs typeface="Arial"/>
                    <a:sym typeface="Slate Pro" panose="02000506040000020004" pitchFamily="2" charset="0"/>
                  </a:rPr>
                  <a:t>Available to Partners who meet certain performance and certification requirements</a:t>
                </a:r>
                <a:endParaRPr sz="1200" dirty="0">
                  <a:latin typeface="Slate Pro" panose="02000506040000020004" pitchFamily="2" charset="0"/>
                  <a:cs typeface="Arial"/>
                  <a:sym typeface="Slate Pro" panose="02000506040000020004" pitchFamily="2" charset="0"/>
                </a:endParaRPr>
              </a:p>
            </p:txBody>
          </p:sp>
        </p:grpSp>
        <p:grpSp>
          <p:nvGrpSpPr>
            <p:cNvPr id="31" name="Group 30">
              <a:extLst>
                <a:ext uri="{FF2B5EF4-FFF2-40B4-BE49-F238E27FC236}">
                  <a16:creationId xmlns:a16="http://schemas.microsoft.com/office/drawing/2014/main" id="{D24A62DB-0B57-3652-A4F6-85236E2B07A9}"/>
                </a:ext>
              </a:extLst>
            </p:cNvPr>
            <p:cNvGrpSpPr/>
            <p:nvPr/>
          </p:nvGrpSpPr>
          <p:grpSpPr>
            <a:xfrm>
              <a:off x="416324" y="3403943"/>
              <a:ext cx="3768584" cy="1678245"/>
              <a:chOff x="416324" y="4222861"/>
              <a:chExt cx="3768584" cy="1678245"/>
            </a:xfrm>
          </p:grpSpPr>
          <p:sp>
            <p:nvSpPr>
              <p:cNvPr id="11" name="object 11"/>
              <p:cNvSpPr txBox="1"/>
              <p:nvPr/>
            </p:nvSpPr>
            <p:spPr>
              <a:xfrm>
                <a:off x="419539" y="5210829"/>
                <a:ext cx="925719" cy="259045"/>
              </a:xfrm>
              <a:prstGeom prst="rect">
                <a:avLst/>
              </a:prstGeom>
            </p:spPr>
            <p:txBody>
              <a:bodyPr vert="horz" wrap="square" lIns="0" tIns="12700" rIns="0" bIns="0" rtlCol="0">
                <a:spAutoFit/>
              </a:bodyPr>
              <a:lstStyle/>
              <a:p>
                <a:pPr marL="12700">
                  <a:spcBef>
                    <a:spcPts val="100"/>
                  </a:spcBef>
                </a:pPr>
                <a:r>
                  <a:rPr sz="1600" b="1" spc="-50" dirty="0">
                    <a:solidFill>
                      <a:srgbClr val="FF8800"/>
                    </a:solidFill>
                    <a:latin typeface="Slate Pro" panose="02000506040000020004" pitchFamily="2" charset="0"/>
                    <a:cs typeface="Arial"/>
                    <a:sym typeface="Slate Pro" panose="02000506040000020004" pitchFamily="2" charset="0"/>
                  </a:rPr>
                  <a:t>Assets</a:t>
                </a:r>
                <a:endParaRPr sz="1600" dirty="0">
                  <a:solidFill>
                    <a:srgbClr val="FF8800"/>
                  </a:solidFill>
                  <a:latin typeface="Slate Pro" panose="02000506040000020004" pitchFamily="2" charset="0"/>
                  <a:cs typeface="Arial"/>
                  <a:sym typeface="Slate Pro" panose="02000506040000020004" pitchFamily="2" charset="0"/>
                </a:endParaRPr>
              </a:p>
            </p:txBody>
          </p:sp>
          <p:sp>
            <p:nvSpPr>
              <p:cNvPr id="12" name="object 12"/>
              <p:cNvSpPr txBox="1"/>
              <p:nvPr/>
            </p:nvSpPr>
            <p:spPr>
              <a:xfrm>
                <a:off x="419539" y="5472014"/>
                <a:ext cx="3765369" cy="429092"/>
              </a:xfrm>
              <a:prstGeom prst="rect">
                <a:avLst/>
              </a:prstGeom>
            </p:spPr>
            <p:txBody>
              <a:bodyPr vert="horz" wrap="square" lIns="0" tIns="12700" rIns="0" bIns="0" rtlCol="0">
                <a:spAutoFit/>
              </a:bodyPr>
              <a:lstStyle/>
              <a:p>
                <a:pPr marL="12700" marR="5080" algn="l">
                  <a:lnSpc>
                    <a:spcPct val="117400"/>
                  </a:lnSpc>
                  <a:spcBef>
                    <a:spcPts val="100"/>
                  </a:spcBef>
                </a:pPr>
                <a:r>
                  <a:rPr sz="1200" dirty="0">
                    <a:solidFill>
                      <a:srgbClr val="FFFFFF"/>
                    </a:solidFill>
                    <a:latin typeface="Slate Pro" panose="02000506040000020004" pitchFamily="2" charset="0"/>
                    <a:cs typeface="Arial"/>
                    <a:sym typeface="Slate Pro" panose="02000506040000020004" pitchFamily="2" charset="0"/>
                  </a:rPr>
                  <a:t>White</a:t>
                </a:r>
                <a:r>
                  <a:rPr sz="1200" spc="-25" dirty="0">
                    <a:solidFill>
                      <a:srgbClr val="FFFFFF"/>
                    </a:solidFill>
                    <a:latin typeface="Slate Pro" panose="02000506040000020004" pitchFamily="2" charset="0"/>
                    <a:cs typeface="Arial"/>
                    <a:sym typeface="Slate Pro" panose="02000506040000020004" pitchFamily="2" charset="0"/>
                  </a:rPr>
                  <a:t> </a:t>
                </a:r>
                <a:r>
                  <a:rPr sz="1200" spc="-10" dirty="0">
                    <a:solidFill>
                      <a:srgbClr val="FFFFFF"/>
                    </a:solidFill>
                    <a:latin typeface="Slate Pro" panose="02000506040000020004" pitchFamily="2" charset="0"/>
                    <a:cs typeface="Arial"/>
                    <a:sym typeface="Slate Pro" panose="02000506040000020004" pitchFamily="2" charset="0"/>
                  </a:rPr>
                  <a:t>papers,</a:t>
                </a:r>
                <a:r>
                  <a:rPr sz="1200" spc="-20" dirty="0">
                    <a:solidFill>
                      <a:srgbClr val="FFFFFF"/>
                    </a:solidFill>
                    <a:latin typeface="Slate Pro" panose="02000506040000020004" pitchFamily="2" charset="0"/>
                    <a:cs typeface="Arial"/>
                    <a:sym typeface="Slate Pro" panose="02000506040000020004" pitchFamily="2" charset="0"/>
                  </a:rPr>
                  <a:t> </a:t>
                </a:r>
                <a:r>
                  <a:rPr sz="1200" dirty="0">
                    <a:solidFill>
                      <a:srgbClr val="FFFFFF"/>
                    </a:solidFill>
                    <a:latin typeface="Slate Pro" panose="02000506040000020004" pitchFamily="2" charset="0"/>
                    <a:cs typeface="Arial"/>
                    <a:sym typeface="Slate Pro" panose="02000506040000020004" pitchFamily="2" charset="0"/>
                  </a:rPr>
                  <a:t>blogs,</a:t>
                </a:r>
                <a:r>
                  <a:rPr sz="1200" spc="-25" dirty="0">
                    <a:solidFill>
                      <a:srgbClr val="FFFFFF"/>
                    </a:solidFill>
                    <a:latin typeface="Slate Pro" panose="02000506040000020004" pitchFamily="2" charset="0"/>
                    <a:cs typeface="Arial"/>
                    <a:sym typeface="Slate Pro" panose="02000506040000020004" pitchFamily="2" charset="0"/>
                  </a:rPr>
                  <a:t> </a:t>
                </a:r>
                <a:r>
                  <a:rPr sz="1200" dirty="0">
                    <a:solidFill>
                      <a:srgbClr val="FFFFFF"/>
                    </a:solidFill>
                    <a:latin typeface="Slate Pro" panose="02000506040000020004" pitchFamily="2" charset="0"/>
                    <a:cs typeface="Arial"/>
                    <a:sym typeface="Slate Pro" panose="02000506040000020004" pitchFamily="2" charset="0"/>
                  </a:rPr>
                  <a:t>videos,</a:t>
                </a:r>
                <a:r>
                  <a:rPr sz="1200" spc="-20" dirty="0">
                    <a:solidFill>
                      <a:srgbClr val="FFFFFF"/>
                    </a:solidFill>
                    <a:latin typeface="Slate Pro" panose="02000506040000020004" pitchFamily="2" charset="0"/>
                    <a:cs typeface="Arial"/>
                    <a:sym typeface="Slate Pro" panose="02000506040000020004" pitchFamily="2" charset="0"/>
                  </a:rPr>
                  <a:t> </a:t>
                </a:r>
                <a:r>
                  <a:rPr sz="1200" spc="-40" dirty="0">
                    <a:solidFill>
                      <a:srgbClr val="FFFFFF"/>
                    </a:solidFill>
                    <a:latin typeface="Slate Pro" panose="02000506040000020004" pitchFamily="2" charset="0"/>
                    <a:cs typeface="Arial"/>
                    <a:sym typeface="Slate Pro" panose="02000506040000020004" pitchFamily="2" charset="0"/>
                  </a:rPr>
                  <a:t>case</a:t>
                </a:r>
                <a:r>
                  <a:rPr sz="1200" spc="-25" dirty="0">
                    <a:solidFill>
                      <a:srgbClr val="FFFFFF"/>
                    </a:solidFill>
                    <a:latin typeface="Slate Pro" panose="02000506040000020004" pitchFamily="2" charset="0"/>
                    <a:cs typeface="Arial"/>
                    <a:sym typeface="Slate Pro" panose="02000506040000020004" pitchFamily="2" charset="0"/>
                  </a:rPr>
                  <a:t> </a:t>
                </a:r>
                <a:r>
                  <a:rPr sz="1200" spc="-10" dirty="0">
                    <a:solidFill>
                      <a:srgbClr val="FFFFFF"/>
                    </a:solidFill>
                    <a:latin typeface="Slate Pro" panose="02000506040000020004" pitchFamily="2" charset="0"/>
                    <a:cs typeface="Arial"/>
                    <a:sym typeface="Slate Pro" panose="02000506040000020004" pitchFamily="2" charset="0"/>
                  </a:rPr>
                  <a:t>studies,</a:t>
                </a:r>
                <a:r>
                  <a:rPr sz="1200" spc="-20" dirty="0">
                    <a:solidFill>
                      <a:srgbClr val="FFFFFF"/>
                    </a:solidFill>
                    <a:latin typeface="Slate Pro" panose="02000506040000020004" pitchFamily="2" charset="0"/>
                    <a:cs typeface="Arial"/>
                    <a:sym typeface="Slate Pro" panose="02000506040000020004" pitchFamily="2" charset="0"/>
                  </a:rPr>
                  <a:t> </a:t>
                </a:r>
                <a:r>
                  <a:rPr lang="en-US" sz="1200" spc="-10" dirty="0">
                    <a:solidFill>
                      <a:srgbClr val="FFFFFF"/>
                    </a:solidFill>
                    <a:latin typeface="Slate Pro" panose="02000506040000020004" pitchFamily="2" charset="0"/>
                    <a:cs typeface="Arial"/>
                    <a:sym typeface="Slate Pro" panose="02000506040000020004" pitchFamily="2" charset="0"/>
                  </a:rPr>
                  <a:t>event material, </a:t>
                </a:r>
                <a:br>
                  <a:rPr lang="en-US" sz="1200" spc="-10" dirty="0">
                    <a:solidFill>
                      <a:srgbClr val="FFFFFF"/>
                    </a:solidFill>
                    <a:latin typeface="Slate Pro" panose="02000506040000020004" pitchFamily="2" charset="0"/>
                    <a:cs typeface="Arial"/>
                    <a:sym typeface="Slate Pro" panose="02000506040000020004" pitchFamily="2" charset="0"/>
                  </a:rPr>
                </a:br>
                <a:r>
                  <a:rPr sz="1200" dirty="0">
                    <a:solidFill>
                      <a:srgbClr val="FFFFFF"/>
                    </a:solidFill>
                    <a:latin typeface="Slate Pro" panose="02000506040000020004" pitchFamily="2" charset="0"/>
                    <a:cs typeface="Arial"/>
                    <a:sym typeface="Slate Pro" panose="02000506040000020004" pitchFamily="2" charset="0"/>
                  </a:rPr>
                  <a:t>and</a:t>
                </a:r>
                <a:r>
                  <a:rPr sz="1200" spc="-25" dirty="0">
                    <a:solidFill>
                      <a:srgbClr val="FFFFFF"/>
                    </a:solidFill>
                    <a:latin typeface="Slate Pro" panose="02000506040000020004" pitchFamily="2" charset="0"/>
                    <a:cs typeface="Arial"/>
                    <a:sym typeface="Slate Pro" panose="02000506040000020004" pitchFamily="2" charset="0"/>
                  </a:rPr>
                  <a:t> </a:t>
                </a:r>
                <a:r>
                  <a:rPr sz="1200" spc="-10" dirty="0">
                    <a:solidFill>
                      <a:srgbClr val="FFFFFF"/>
                    </a:solidFill>
                    <a:latin typeface="Slate Pro" panose="02000506040000020004" pitchFamily="2" charset="0"/>
                    <a:cs typeface="Arial"/>
                    <a:sym typeface="Slate Pro" panose="02000506040000020004" pitchFamily="2" charset="0"/>
                  </a:rPr>
                  <a:t>mor</a:t>
                </a:r>
                <a:r>
                  <a:rPr lang="en-US" sz="1200" spc="-10" dirty="0">
                    <a:solidFill>
                      <a:srgbClr val="FFFFFF"/>
                    </a:solidFill>
                    <a:latin typeface="Slate Pro" panose="02000506040000020004" pitchFamily="2" charset="0"/>
                    <a:cs typeface="Arial"/>
                    <a:sym typeface="Slate Pro" panose="02000506040000020004" pitchFamily="2" charset="0"/>
                  </a:rPr>
                  <a:t>e</a:t>
                </a:r>
                <a:endParaRPr sz="1200" dirty="0">
                  <a:latin typeface="Slate Pro" panose="02000506040000020004" pitchFamily="2" charset="0"/>
                  <a:cs typeface="Arial"/>
                  <a:sym typeface="Slate Pro" panose="02000506040000020004" pitchFamily="2" charset="0"/>
                </a:endParaRPr>
              </a:p>
            </p:txBody>
          </p:sp>
          <p:sp>
            <p:nvSpPr>
              <p:cNvPr id="7" name="object 11">
                <a:extLst>
                  <a:ext uri="{FF2B5EF4-FFF2-40B4-BE49-F238E27FC236}">
                    <a16:creationId xmlns:a16="http://schemas.microsoft.com/office/drawing/2014/main" id="{A7B320E3-9E61-8DF8-EA05-9CEF2D72ECDB}"/>
                  </a:ext>
                </a:extLst>
              </p:cNvPr>
              <p:cNvSpPr txBox="1"/>
              <p:nvPr/>
            </p:nvSpPr>
            <p:spPr>
              <a:xfrm>
                <a:off x="416324" y="4222861"/>
                <a:ext cx="2343879" cy="259045"/>
              </a:xfrm>
              <a:prstGeom prst="rect">
                <a:avLst/>
              </a:prstGeom>
            </p:spPr>
            <p:txBody>
              <a:bodyPr vert="horz" wrap="square" lIns="0" tIns="12700" rIns="0" bIns="0" rtlCol="0">
                <a:spAutoFit/>
              </a:bodyPr>
              <a:lstStyle/>
              <a:p>
                <a:pPr marL="12700">
                  <a:spcBef>
                    <a:spcPts val="100"/>
                  </a:spcBef>
                </a:pPr>
                <a:r>
                  <a:rPr lang="en-US" sz="1600" b="1" spc="-50" dirty="0">
                    <a:solidFill>
                      <a:srgbClr val="FF8800"/>
                    </a:solidFill>
                    <a:latin typeface="Slate Pro" panose="02000506040000020004" pitchFamily="2" charset="0"/>
                    <a:cs typeface="Arial"/>
                    <a:sym typeface="Slate Pro" panose="02000506040000020004" pitchFamily="2" charset="0"/>
                  </a:rPr>
                  <a:t>Branding Guidelines </a:t>
                </a:r>
                <a:endParaRPr sz="1600" dirty="0">
                  <a:solidFill>
                    <a:srgbClr val="FF8800"/>
                  </a:solidFill>
                  <a:latin typeface="Slate Pro" panose="02000506040000020004" pitchFamily="2" charset="0"/>
                  <a:cs typeface="Arial"/>
                  <a:sym typeface="Slate Pro" panose="02000506040000020004" pitchFamily="2" charset="0"/>
                </a:endParaRPr>
              </a:p>
            </p:txBody>
          </p:sp>
        </p:grpSp>
        <p:grpSp>
          <p:nvGrpSpPr>
            <p:cNvPr id="32" name="Group 31">
              <a:extLst>
                <a:ext uri="{FF2B5EF4-FFF2-40B4-BE49-F238E27FC236}">
                  <a16:creationId xmlns:a16="http://schemas.microsoft.com/office/drawing/2014/main" id="{D079D9AB-87F9-8A6B-EDFB-7A6F30C53957}"/>
                </a:ext>
              </a:extLst>
            </p:cNvPr>
            <p:cNvGrpSpPr/>
            <p:nvPr/>
          </p:nvGrpSpPr>
          <p:grpSpPr>
            <a:xfrm>
              <a:off x="419539" y="6220236"/>
              <a:ext cx="3765369" cy="692842"/>
              <a:chOff x="419539" y="6030462"/>
              <a:chExt cx="3765369" cy="692842"/>
            </a:xfrm>
          </p:grpSpPr>
          <p:sp>
            <p:nvSpPr>
              <p:cNvPr id="29" name="object 11">
                <a:extLst>
                  <a:ext uri="{FF2B5EF4-FFF2-40B4-BE49-F238E27FC236}">
                    <a16:creationId xmlns:a16="http://schemas.microsoft.com/office/drawing/2014/main" id="{46D3BDA0-BAB9-628E-7123-135AE5F38774}"/>
                  </a:ext>
                </a:extLst>
              </p:cNvPr>
              <p:cNvSpPr txBox="1"/>
              <p:nvPr/>
            </p:nvSpPr>
            <p:spPr>
              <a:xfrm>
                <a:off x="419539" y="6030462"/>
                <a:ext cx="925719" cy="259045"/>
              </a:xfrm>
              <a:prstGeom prst="rect">
                <a:avLst/>
              </a:prstGeom>
            </p:spPr>
            <p:txBody>
              <a:bodyPr vert="horz" wrap="square" lIns="0" tIns="12700" rIns="0" bIns="0" rtlCol="0">
                <a:spAutoFit/>
              </a:bodyPr>
              <a:lstStyle/>
              <a:p>
                <a:pPr marL="12700">
                  <a:spcBef>
                    <a:spcPts val="100"/>
                  </a:spcBef>
                </a:pPr>
                <a:r>
                  <a:rPr lang="en-US" sz="1600" b="1" spc="-50" dirty="0">
                    <a:solidFill>
                      <a:srgbClr val="FF8800"/>
                    </a:solidFill>
                    <a:latin typeface="Slate Pro" panose="02000506040000020004" pitchFamily="2" charset="0"/>
                    <a:cs typeface="Arial"/>
                    <a:sym typeface="Slate Pro" panose="02000506040000020004" pitchFamily="2" charset="0"/>
                  </a:rPr>
                  <a:t>Events</a:t>
                </a:r>
                <a:endParaRPr sz="1600" dirty="0">
                  <a:solidFill>
                    <a:srgbClr val="FF8800"/>
                  </a:solidFill>
                  <a:latin typeface="Slate Pro" panose="02000506040000020004" pitchFamily="2" charset="0"/>
                  <a:cs typeface="Arial"/>
                  <a:sym typeface="Slate Pro" panose="02000506040000020004" pitchFamily="2" charset="0"/>
                </a:endParaRPr>
              </a:p>
            </p:txBody>
          </p:sp>
          <p:sp>
            <p:nvSpPr>
              <p:cNvPr id="30" name="object 12">
                <a:extLst>
                  <a:ext uri="{FF2B5EF4-FFF2-40B4-BE49-F238E27FC236}">
                    <a16:creationId xmlns:a16="http://schemas.microsoft.com/office/drawing/2014/main" id="{D706BB5D-167B-83AA-B84B-649116EA6A00}"/>
                  </a:ext>
                </a:extLst>
              </p:cNvPr>
              <p:cNvSpPr txBox="1"/>
              <p:nvPr/>
            </p:nvSpPr>
            <p:spPr>
              <a:xfrm>
                <a:off x="419539" y="6291647"/>
                <a:ext cx="3765369" cy="431657"/>
              </a:xfrm>
              <a:prstGeom prst="rect">
                <a:avLst/>
              </a:prstGeom>
            </p:spPr>
            <p:txBody>
              <a:bodyPr vert="horz" wrap="square" lIns="0" tIns="12700" rIns="0" bIns="0" rtlCol="0">
                <a:spAutoFit/>
              </a:bodyPr>
              <a:lstStyle/>
              <a:p>
                <a:pPr marL="12700" marR="5080">
                  <a:lnSpc>
                    <a:spcPct val="117400"/>
                  </a:lnSpc>
                  <a:spcBef>
                    <a:spcPts val="100"/>
                  </a:spcBef>
                </a:pPr>
                <a:r>
                  <a:rPr lang="en-US" sz="1200" dirty="0">
                    <a:solidFill>
                      <a:srgbClr val="FFFFFF"/>
                    </a:solidFill>
                    <a:latin typeface="Slate Pro" panose="02000506040000020004" pitchFamily="2" charset="0"/>
                    <a:cs typeface="Arial"/>
                    <a:sym typeface="Slate Pro" panose="02000506040000020004" pitchFamily="2" charset="0"/>
                  </a:rPr>
                  <a:t>Invites to upcoming events like sales kickoffs and </a:t>
                </a:r>
                <a:br>
                  <a:rPr lang="en-US" sz="1200" dirty="0">
                    <a:solidFill>
                      <a:srgbClr val="FFFFFF"/>
                    </a:solidFill>
                    <a:latin typeface="Slate Pro" panose="02000506040000020004" pitchFamily="2" charset="0"/>
                    <a:cs typeface="Arial"/>
                    <a:sym typeface="Slate Pro" panose="02000506040000020004" pitchFamily="2" charset="0"/>
                  </a:rPr>
                </a:br>
                <a:r>
                  <a:rPr lang="en-US" sz="1200" dirty="0">
                    <a:solidFill>
                      <a:srgbClr val="FFFFFF"/>
                    </a:solidFill>
                    <a:latin typeface="Slate Pro" panose="02000506040000020004" pitchFamily="2" charset="0"/>
                    <a:cs typeface="Arial"/>
                    <a:sym typeface="Slate Pro" panose="02000506040000020004" pitchFamily="2" charset="0"/>
                  </a:rPr>
                  <a:t>leadership roundtables</a:t>
                </a:r>
                <a:endParaRPr sz="1200" dirty="0">
                  <a:latin typeface="Slate Pro" panose="02000506040000020004" pitchFamily="2" charset="0"/>
                  <a:cs typeface="Arial"/>
                  <a:sym typeface="Slate Pro" panose="02000506040000020004" pitchFamily="2" charset="0"/>
                </a:endParaRPr>
              </a:p>
            </p:txBody>
          </p:sp>
        </p:grpSp>
        <p:sp>
          <p:nvSpPr>
            <p:cNvPr id="26" name="TextBox 25">
              <a:extLst>
                <a:ext uri="{FF2B5EF4-FFF2-40B4-BE49-F238E27FC236}">
                  <a16:creationId xmlns:a16="http://schemas.microsoft.com/office/drawing/2014/main" id="{7499C8E1-83C9-67BA-544E-DF668CBD7153}"/>
                </a:ext>
              </a:extLst>
            </p:cNvPr>
            <p:cNvSpPr txBox="1"/>
            <p:nvPr/>
          </p:nvSpPr>
          <p:spPr>
            <a:xfrm>
              <a:off x="419539" y="3646590"/>
              <a:ext cx="3765369" cy="509307"/>
            </a:xfrm>
            <a:prstGeom prst="rect">
              <a:avLst/>
            </a:prstGeom>
            <a:noFill/>
          </p:spPr>
          <p:txBody>
            <a:bodyPr wrap="square" lIns="0">
              <a:spAutoFit/>
            </a:bodyPr>
            <a:lstStyle/>
            <a:p>
              <a:pPr marL="24765" marR="81280" algn="l">
                <a:lnSpc>
                  <a:spcPct val="117400"/>
                </a:lnSpc>
                <a:spcBef>
                  <a:spcPts val="600"/>
                </a:spcBef>
              </a:pPr>
              <a:r>
                <a:rPr lang="en-US" sz="1200" dirty="0">
                  <a:solidFill>
                    <a:srgbClr val="FFFFFF"/>
                  </a:solidFill>
                  <a:latin typeface="Slate Pro" panose="02000506040000020004" pitchFamily="2" charset="0"/>
                  <a:cs typeface="Arial"/>
                  <a:sym typeface="Slate Pro" panose="02000506040000020004" pitchFamily="2" charset="0"/>
                </a:rPr>
                <a:t>Press release templates, policies, and best practices to help you get started with any campaign</a:t>
              </a:r>
            </a:p>
          </p:txBody>
        </p:sp>
      </p:grpSp>
      <p:sp>
        <p:nvSpPr>
          <p:cNvPr id="6" name="object 25">
            <a:extLst>
              <a:ext uri="{FF2B5EF4-FFF2-40B4-BE49-F238E27FC236}">
                <a16:creationId xmlns:a16="http://schemas.microsoft.com/office/drawing/2014/main" id="{7AE68251-6123-C6B8-C557-FB9410B1D568}"/>
              </a:ext>
            </a:extLst>
          </p:cNvPr>
          <p:cNvSpPr/>
          <p:nvPr/>
        </p:nvSpPr>
        <p:spPr>
          <a:xfrm>
            <a:off x="511099" y="3140989"/>
            <a:ext cx="4318072" cy="45719"/>
          </a:xfrm>
          <a:custGeom>
            <a:avLst/>
            <a:gdLst/>
            <a:ahLst/>
            <a:cxnLst/>
            <a:rect l="l" t="t" r="r" b="b"/>
            <a:pathLst>
              <a:path w="4653280">
                <a:moveTo>
                  <a:pt x="0" y="0"/>
                </a:moveTo>
                <a:lnTo>
                  <a:pt x="4652995" y="0"/>
                </a:lnTo>
              </a:path>
            </a:pathLst>
          </a:custGeom>
          <a:ln w="634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grpSp>
        <p:nvGrpSpPr>
          <p:cNvPr id="19" name="Group 18">
            <a:extLst>
              <a:ext uri="{FF2B5EF4-FFF2-40B4-BE49-F238E27FC236}">
                <a16:creationId xmlns:a16="http://schemas.microsoft.com/office/drawing/2014/main" id="{98C304CC-89C1-E9ED-3370-228044800CB1}"/>
              </a:ext>
            </a:extLst>
          </p:cNvPr>
          <p:cNvGrpSpPr/>
          <p:nvPr/>
        </p:nvGrpSpPr>
        <p:grpSpPr>
          <a:xfrm>
            <a:off x="157427" y="7205390"/>
            <a:ext cx="2416310" cy="276999"/>
            <a:chOff x="157428" y="7205390"/>
            <a:chExt cx="2132373" cy="276999"/>
          </a:xfrm>
        </p:grpSpPr>
        <p:sp>
          <p:nvSpPr>
            <p:cNvPr id="20" name="TextBox 19">
              <a:hlinkClick r:id="rId7" action="ppaction://hlinksldjump"/>
              <a:extLst>
                <a:ext uri="{FF2B5EF4-FFF2-40B4-BE49-F238E27FC236}">
                  <a16:creationId xmlns:a16="http://schemas.microsoft.com/office/drawing/2014/main" id="{6750E4D3-2FB1-6402-2029-37AACB7694DB}"/>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22" name="Arrow: Right 21">
              <a:extLst>
                <a:ext uri="{FF2B5EF4-FFF2-40B4-BE49-F238E27FC236}">
                  <a16:creationId xmlns:a16="http://schemas.microsoft.com/office/drawing/2014/main" id="{B122478A-D8A8-EC69-0D25-9CB3326ADA93}"/>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Object 104" hidden="1">
            <a:extLst>
              <a:ext uri="{FF2B5EF4-FFF2-40B4-BE49-F238E27FC236}">
                <a16:creationId xmlns:a16="http://schemas.microsoft.com/office/drawing/2014/main" id="{D82B76EE-5118-7618-607F-A6692B3DC978}"/>
              </a:ext>
            </a:extLst>
          </p:cNvPr>
          <p:cNvGraphicFramePr>
            <a:graphicFrameLocks noChangeAspect="1"/>
          </p:cNvGraphicFramePr>
          <p:nvPr>
            <p:custDataLst>
              <p:tags r:id="rId1"/>
            </p:custDataLst>
            <p:extLst>
              <p:ext uri="{D42A27DB-BD31-4B8C-83A1-F6EECF244321}">
                <p14:modId xmlns:p14="http://schemas.microsoft.com/office/powerpoint/2010/main" val="1720794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5" name="Object 104" hidden="1">
                        <a:extLst>
                          <a:ext uri="{FF2B5EF4-FFF2-40B4-BE49-F238E27FC236}">
                            <a16:creationId xmlns:a16="http://schemas.microsoft.com/office/drawing/2014/main" id="{D82B76EE-5118-7618-607F-A6692B3DC9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ine graph adjacent to a stair">
            <a:extLst>
              <a:ext uri="{FF2B5EF4-FFF2-40B4-BE49-F238E27FC236}">
                <a16:creationId xmlns:a16="http://schemas.microsoft.com/office/drawing/2014/main" id="{A1BC8CC4-DD10-5DA2-527B-136F7ACDE6C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8187"/>
          <a:stretch/>
        </p:blipFill>
        <p:spPr>
          <a:xfrm>
            <a:off x="5346699" y="2"/>
            <a:ext cx="5346700" cy="7065009"/>
          </a:xfrm>
          <a:prstGeom prst="rect">
            <a:avLst/>
          </a:prstGeom>
        </p:spPr>
      </p:pic>
      <p:sp>
        <p:nvSpPr>
          <p:cNvPr id="2" name="object 2"/>
          <p:cNvSpPr/>
          <p:nvPr/>
        </p:nvSpPr>
        <p:spPr>
          <a:xfrm>
            <a:off x="0" y="14"/>
            <a:ext cx="5346700" cy="7065009"/>
          </a:xfrm>
          <a:custGeom>
            <a:avLst/>
            <a:gdLst/>
            <a:ahLst/>
            <a:cxnLst/>
            <a:rect l="l" t="t" r="r" b="b"/>
            <a:pathLst>
              <a:path w="4950460" h="7065009">
                <a:moveTo>
                  <a:pt x="4950002" y="0"/>
                </a:moveTo>
                <a:lnTo>
                  <a:pt x="0" y="0"/>
                </a:lnTo>
                <a:lnTo>
                  <a:pt x="0" y="7064997"/>
                </a:lnTo>
                <a:lnTo>
                  <a:pt x="4950002" y="7064997"/>
                </a:lnTo>
                <a:lnTo>
                  <a:pt x="4950002" y="0"/>
                </a:lnTo>
                <a:close/>
              </a:path>
            </a:pathLst>
          </a:custGeom>
          <a:solidFill>
            <a:srgbClr val="4D4F56"/>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7" name="object 7"/>
          <p:cNvSpPr txBox="1"/>
          <p:nvPr/>
        </p:nvSpPr>
        <p:spPr>
          <a:xfrm>
            <a:off x="502920" y="402336"/>
            <a:ext cx="4819398" cy="1011815"/>
          </a:xfrm>
          <a:prstGeom prst="rect">
            <a:avLst/>
          </a:prstGeom>
        </p:spPr>
        <p:txBody>
          <a:bodyPr vert="horz" wrap="square" lIns="0" tIns="113030" rIns="0" bIns="0" rtlCol="0">
            <a:spAutoFit/>
          </a:bodyPr>
          <a:lstStyle/>
          <a:p>
            <a:pPr marL="12700" marR="925830">
              <a:lnSpc>
                <a:spcPts val="3450"/>
              </a:lnSpc>
              <a:spcBef>
                <a:spcPts val="890"/>
              </a:spcBef>
            </a:pPr>
            <a:r>
              <a:rPr lang="en-US" sz="3200" b="1" dirty="0">
                <a:solidFill>
                  <a:srgbClr val="FFFFFF"/>
                </a:solidFill>
                <a:latin typeface="Slate Pro" panose="02000506040000020004" pitchFamily="2" charset="0"/>
                <a:cs typeface="Arial"/>
                <a:sym typeface="Slate Pro" panose="02000506040000020004" pitchFamily="2" charset="0"/>
              </a:rPr>
              <a:t>Onboarding Training and Talent</a:t>
            </a:r>
            <a:endParaRPr lang="en-US" sz="3200" dirty="0">
              <a:latin typeface="Slate Pro" panose="02000506040000020004" pitchFamily="2" charset="0"/>
              <a:cs typeface="Arial"/>
              <a:sym typeface="Slate Pro" panose="02000506040000020004" pitchFamily="2" charset="0"/>
            </a:endParaRPr>
          </a:p>
        </p:txBody>
      </p:sp>
      <p:sp>
        <p:nvSpPr>
          <p:cNvPr id="72" name="object 72"/>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19</a:t>
            </a:fld>
            <a:endParaRPr spc="-25"/>
          </a:p>
        </p:txBody>
      </p:sp>
      <p:sp>
        <p:nvSpPr>
          <p:cNvPr id="18" name="TextBox 17">
            <a:extLst>
              <a:ext uri="{FF2B5EF4-FFF2-40B4-BE49-F238E27FC236}">
                <a16:creationId xmlns:a16="http://schemas.microsoft.com/office/drawing/2014/main" id="{8CA92666-6045-8DA4-BFC6-947064D43CF3}"/>
              </a:ext>
            </a:extLst>
          </p:cNvPr>
          <p:cNvSpPr txBox="1"/>
          <p:nvPr/>
        </p:nvSpPr>
        <p:spPr>
          <a:xfrm>
            <a:off x="488620" y="1824747"/>
            <a:ext cx="4590156" cy="4528869"/>
          </a:xfrm>
          <a:prstGeom prst="rect">
            <a:avLst/>
          </a:prstGeom>
          <a:noFill/>
        </p:spPr>
        <p:txBody>
          <a:bodyPr wrap="square">
            <a:spAutoFit/>
          </a:bodyPr>
          <a:lstStyle/>
          <a:p>
            <a:pPr marL="12700" marR="5080">
              <a:lnSpc>
                <a:spcPct val="117400"/>
              </a:lnSpc>
              <a:spcBef>
                <a:spcPts val="1125"/>
              </a:spcBef>
            </a:pPr>
            <a:r>
              <a:rPr lang="en-US" sz="1400" dirty="0">
                <a:solidFill>
                  <a:srgbClr val="FFFFFF"/>
                </a:solidFill>
                <a:latin typeface="Slate Pro" panose="02000506040000020004" pitchFamily="2" charset="0"/>
                <a:cs typeface="Arial"/>
                <a:sym typeface="Slate Pro" panose="02000506040000020004" pitchFamily="2" charset="0"/>
              </a:rPr>
              <a:t>As an extension of our sales team, we understand the importance of arming you with the information you need to position ACME strongly among your customers and prospects.</a:t>
            </a:r>
          </a:p>
          <a:p>
            <a:pPr marL="12700" marR="5080">
              <a:lnSpc>
                <a:spcPct val="117400"/>
              </a:lnSpc>
              <a:spcBef>
                <a:spcPts val="1125"/>
              </a:spcBef>
            </a:pPr>
            <a:r>
              <a:rPr lang="en-US" sz="1400" dirty="0">
                <a:solidFill>
                  <a:srgbClr val="FFFFFF"/>
                </a:solidFill>
                <a:latin typeface="Slate Pro" panose="02000506040000020004" pitchFamily="2" charset="0"/>
                <a:cs typeface="Arial"/>
                <a:sym typeface="Slate Pro" panose="02000506040000020004" pitchFamily="2" charset="0"/>
              </a:rPr>
              <a:t>ACME offers numerous training courses, enabling Partners to upskill their sales teams along two training paths, pre-sales (demo and technical knowledge) and sales.</a:t>
            </a:r>
          </a:p>
          <a:p>
            <a:pPr marL="12700" marR="5080">
              <a:lnSpc>
                <a:spcPct val="117400"/>
              </a:lnSpc>
              <a:spcBef>
                <a:spcPts val="1125"/>
              </a:spcBef>
            </a:pPr>
            <a:r>
              <a:rPr lang="en-US" sz="1400" dirty="0">
                <a:solidFill>
                  <a:srgbClr val="FFFFFF"/>
                </a:solidFill>
                <a:latin typeface="Slate Pro" panose="02000506040000020004" pitchFamily="2" charset="0"/>
                <a:cs typeface="Arial"/>
                <a:sym typeface="Slate Pro" panose="02000506040000020004" pitchFamily="2" charset="0"/>
              </a:rPr>
              <a:t>In addition to annually refreshed enablement, ACME offers updated training around product rollouts semi-annually to ensure your sellers possess the know-how they need to win in a competitive sales environment.</a:t>
            </a:r>
          </a:p>
          <a:p>
            <a:pPr marL="12700" marR="5080">
              <a:lnSpc>
                <a:spcPct val="117400"/>
              </a:lnSpc>
              <a:spcBef>
                <a:spcPts val="1125"/>
              </a:spcBef>
            </a:pPr>
            <a:r>
              <a:rPr lang="en-US" sz="1400" spc="30" dirty="0">
                <a:solidFill>
                  <a:srgbClr val="FFFFFF"/>
                </a:solidFill>
                <a:latin typeface="Slate Pro" panose="02000506040000020004" pitchFamily="2" charset="0"/>
                <a:cs typeface="Arial"/>
                <a:sym typeface="Slate Pro" panose="02000506040000020004" pitchFamily="2" charset="0"/>
              </a:rPr>
              <a:t>ACME also provides Partners 24/7 access to sales enablement, giving sellers tools, materials, and collateral to facilitate effective selling and keep their ACME product knowledge sharp. This enablement is available through our </a:t>
            </a:r>
            <a:r>
              <a:rPr lang="en-US" sz="1400" spc="30" dirty="0">
                <a:solidFill>
                  <a:schemeClr val="accent6"/>
                </a:solidFill>
                <a:latin typeface="Slate Pro" panose="02000506040000020004" pitchFamily="2" charset="0"/>
                <a:cs typeface="Arial"/>
                <a:sym typeface="Slate Pro" panose="02000506040000020004" pitchFamily="2" charset="0"/>
              </a:rPr>
              <a:t>Partner Portal platform</a:t>
            </a:r>
            <a:r>
              <a:rPr lang="en-US" sz="1400" spc="30" dirty="0">
                <a:solidFill>
                  <a:srgbClr val="FFFFFF"/>
                </a:solidFill>
                <a:latin typeface="Slate Pro" panose="02000506040000020004" pitchFamily="2" charset="0"/>
                <a:cs typeface="Arial"/>
                <a:sym typeface="Slate Pro" panose="02000506040000020004" pitchFamily="2" charset="0"/>
              </a:rPr>
              <a:t>. </a:t>
            </a:r>
            <a:endParaRPr lang="en-US" sz="1400" dirty="0">
              <a:solidFill>
                <a:srgbClr val="FFFFFF"/>
              </a:solidFill>
              <a:latin typeface="Slate Pro" panose="02000506040000020004" pitchFamily="2" charset="0"/>
              <a:cs typeface="Arial"/>
              <a:sym typeface="Slate Pro" panose="02000506040000020004" pitchFamily="2" charset="0"/>
            </a:endParaRPr>
          </a:p>
        </p:txBody>
      </p:sp>
      <p:sp>
        <p:nvSpPr>
          <p:cNvPr id="3" name="Holder 4">
            <a:extLst>
              <a:ext uri="{FF2B5EF4-FFF2-40B4-BE49-F238E27FC236}">
                <a16:creationId xmlns:a16="http://schemas.microsoft.com/office/drawing/2014/main" id="{10239983-81DB-A0E1-6E88-6AF25FEBE74E}"/>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8" name="Group 7">
            <a:extLst>
              <a:ext uri="{FF2B5EF4-FFF2-40B4-BE49-F238E27FC236}">
                <a16:creationId xmlns:a16="http://schemas.microsoft.com/office/drawing/2014/main" id="{F8770AB2-24D3-AA3D-535F-7CB796F0BACC}"/>
              </a:ext>
            </a:extLst>
          </p:cNvPr>
          <p:cNvGrpSpPr/>
          <p:nvPr/>
        </p:nvGrpSpPr>
        <p:grpSpPr>
          <a:xfrm>
            <a:off x="157427" y="7205390"/>
            <a:ext cx="2416310" cy="276999"/>
            <a:chOff x="157428" y="7205390"/>
            <a:chExt cx="2132373" cy="276999"/>
          </a:xfrm>
        </p:grpSpPr>
        <p:sp>
          <p:nvSpPr>
            <p:cNvPr id="9" name="TextBox 8">
              <a:hlinkClick r:id="rId7" action="ppaction://hlinksldjump"/>
              <a:extLst>
                <a:ext uri="{FF2B5EF4-FFF2-40B4-BE49-F238E27FC236}">
                  <a16:creationId xmlns:a16="http://schemas.microsoft.com/office/drawing/2014/main" id="{EDF01931-79FB-E6E3-DA54-F9CC84F2E7E9}"/>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0" name="Arrow: Right 9">
              <a:extLst>
                <a:ext uri="{FF2B5EF4-FFF2-40B4-BE49-F238E27FC236}">
                  <a16:creationId xmlns:a16="http://schemas.microsoft.com/office/drawing/2014/main" id="{2C3FF4CA-8859-9E9A-755A-23EB89BD428B}"/>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7D040BB-4620-934F-FCF3-65B2CB347B55}"/>
              </a:ext>
            </a:extLst>
          </p:cNvPr>
          <p:cNvGraphicFramePr>
            <a:graphicFrameLocks noChangeAspect="1"/>
          </p:cNvGraphicFramePr>
          <p:nvPr>
            <p:custDataLst>
              <p:tags r:id="rId1"/>
            </p:custDataLst>
            <p:extLst>
              <p:ext uri="{D42A27DB-BD31-4B8C-83A1-F6EECF244321}">
                <p14:modId xmlns:p14="http://schemas.microsoft.com/office/powerpoint/2010/main" val="3575770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EA6BB9-F1E2-2ADA-88AE-7856D6E935DC}"/>
              </a:ext>
            </a:extLst>
          </p:cNvPr>
          <p:cNvSpPr>
            <a:spLocks noGrp="1"/>
          </p:cNvSpPr>
          <p:nvPr>
            <p:ph type="title"/>
          </p:nvPr>
        </p:nvSpPr>
        <p:spPr/>
        <p:txBody>
          <a:bodyPr vert="horz">
            <a:normAutofit/>
          </a:bodyPr>
          <a:lstStyle/>
          <a:p>
            <a:r>
              <a:rPr lang="en-US" sz="2400" dirty="0"/>
              <a:t>How to use this document</a:t>
            </a:r>
          </a:p>
        </p:txBody>
      </p:sp>
      <p:sp>
        <p:nvSpPr>
          <p:cNvPr id="3" name="Content Placeholder 2">
            <a:extLst>
              <a:ext uri="{FF2B5EF4-FFF2-40B4-BE49-F238E27FC236}">
                <a16:creationId xmlns:a16="http://schemas.microsoft.com/office/drawing/2014/main" id="{4BAE1D3C-F420-8B8A-5F98-027D4C878747}"/>
              </a:ext>
            </a:extLst>
          </p:cNvPr>
          <p:cNvSpPr>
            <a:spLocks noGrp="1"/>
          </p:cNvSpPr>
          <p:nvPr>
            <p:ph idx="1"/>
          </p:nvPr>
        </p:nvSpPr>
        <p:spPr/>
        <p:txBody>
          <a:bodyPr>
            <a:normAutofit/>
          </a:bodyPr>
          <a:lstStyle/>
          <a:p>
            <a:pPr algn="l" defTabSz="802020" rtl="0">
              <a:lnSpc>
                <a:spcPct val="120000"/>
              </a:lnSpc>
              <a:spcBef>
                <a:spcPts val="526"/>
              </a:spcBef>
              <a:spcAft>
                <a:spcPts val="526"/>
              </a:spcAft>
            </a:pPr>
            <a:r>
              <a:rPr lang="en-US" sz="1800" kern="1200" dirty="0">
                <a:solidFill>
                  <a:srgbClr val="071E31"/>
                </a:solidFill>
                <a:latin typeface="Slate Pro" panose="02000506040000020004" pitchFamily="2" charset="0"/>
                <a:ea typeface="+mn-ea"/>
                <a:cs typeface="+mn-cs"/>
                <a:sym typeface="Slate Pro" panose="02000506040000020004" pitchFamily="2" charset="0"/>
              </a:rPr>
              <a:t>This Channel </a:t>
            </a:r>
            <a:r>
              <a:rPr lang="en-US" sz="1800" dirty="0">
                <a:solidFill>
                  <a:srgbClr val="071E31"/>
                </a:solidFill>
              </a:rPr>
              <a:t>P</a:t>
            </a:r>
            <a:r>
              <a:rPr lang="en-US" sz="1800" kern="1200" dirty="0">
                <a:solidFill>
                  <a:srgbClr val="071E31"/>
                </a:solidFill>
                <a:latin typeface="Slate Pro" panose="02000506040000020004" pitchFamily="2" charset="0"/>
                <a:ea typeface="+mn-ea"/>
                <a:cs typeface="+mn-cs"/>
                <a:sym typeface="Slate Pro" panose="02000506040000020004" pitchFamily="2" charset="0"/>
              </a:rPr>
              <a:t>artner Program </a:t>
            </a:r>
            <a:r>
              <a:rPr lang="en-US" sz="1800" dirty="0">
                <a:solidFill>
                  <a:srgbClr val="071E31"/>
                </a:solidFill>
              </a:rPr>
              <a:t>G</a:t>
            </a:r>
            <a:r>
              <a:rPr lang="en-US" sz="1800" kern="1200" dirty="0">
                <a:solidFill>
                  <a:srgbClr val="071E31"/>
                </a:solidFill>
                <a:latin typeface="Slate Pro" panose="02000506040000020004" pitchFamily="2" charset="0"/>
                <a:ea typeface="+mn-ea"/>
                <a:cs typeface="+mn-cs"/>
                <a:sym typeface="Slate Pro" panose="02000506040000020004" pitchFamily="2" charset="0"/>
              </a:rPr>
              <a:t>uide Template includes common sections that describe aspects of a typical channel program. This includes incentives, benefits, and requirements for partnership, as well as information on partner-facing technology, partner onboarding, training, and certification plans. </a:t>
            </a:r>
          </a:p>
          <a:p>
            <a:pPr algn="l" defTabSz="802020" rtl="0">
              <a:lnSpc>
                <a:spcPct val="120000"/>
              </a:lnSpc>
              <a:spcBef>
                <a:spcPts val="526"/>
              </a:spcBef>
              <a:spcAft>
                <a:spcPts val="526"/>
              </a:spcAft>
            </a:pPr>
            <a:r>
              <a:rPr lang="en-US" sz="1800" kern="1200" dirty="0">
                <a:solidFill>
                  <a:srgbClr val="071E31"/>
                </a:solidFill>
                <a:latin typeface="Slate Pro" panose="02000506040000020004" pitchFamily="2" charset="0"/>
                <a:ea typeface="+mn-ea"/>
                <a:cs typeface="+mn-cs"/>
                <a:sym typeface="Slate Pro" panose="02000506040000020004" pitchFamily="2" charset="0"/>
              </a:rPr>
              <a:t>As you build your Channel Partner Program Guide, refer to this template for guidance on how to present and communicate critical information about your program to company partners. Note: The ACME terminology has been used as a placeholder for your company’s name. As you review the various elements of this template, adjust the content to account for the unique needs and strategies of your organization. </a:t>
            </a:r>
          </a:p>
          <a:p>
            <a:endParaRPr lang="en-US" sz="1800" dirty="0"/>
          </a:p>
        </p:txBody>
      </p:sp>
    </p:spTree>
    <p:extLst>
      <p:ext uri="{BB962C8B-B14F-4D97-AF65-F5344CB8AC3E}">
        <p14:creationId xmlns:p14="http://schemas.microsoft.com/office/powerpoint/2010/main" val="2930960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532ECB-2F4B-6585-65FA-A402E2B55E11}"/>
              </a:ext>
            </a:extLst>
          </p:cNvPr>
          <p:cNvGraphicFramePr>
            <a:graphicFrameLocks noChangeAspect="1"/>
          </p:cNvGraphicFramePr>
          <p:nvPr>
            <p:custDataLst>
              <p:tags r:id="rId1"/>
            </p:custDataLst>
            <p:extLst>
              <p:ext uri="{D42A27DB-BD31-4B8C-83A1-F6EECF244321}">
                <p14:modId xmlns:p14="http://schemas.microsoft.com/office/powerpoint/2010/main" val="393588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Object 10" hidden="1">
                        <a:extLst>
                          <a:ext uri="{FF2B5EF4-FFF2-40B4-BE49-F238E27FC236}">
                            <a16:creationId xmlns:a16="http://schemas.microsoft.com/office/drawing/2014/main" id="{8E532ECB-2F4B-6585-65FA-A402E2B55E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p:nvPr>
        </p:nvSpPr>
        <p:spPr>
          <a:xfrm>
            <a:off x="502920" y="402336"/>
            <a:ext cx="10652805" cy="565476"/>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Partner Onboarding Requirements</a:t>
            </a:r>
            <a:endParaRPr sz="3200" dirty="0">
              <a:solidFill>
                <a:srgbClr val="5A87C5"/>
              </a:solidFill>
            </a:endParaRPr>
          </a:p>
        </p:txBody>
      </p:sp>
      <p:sp>
        <p:nvSpPr>
          <p:cNvPr id="9" name="object 9"/>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20</a:t>
            </a:fld>
            <a:endParaRPr spc="-25"/>
          </a:p>
        </p:txBody>
      </p:sp>
      <p:sp>
        <p:nvSpPr>
          <p:cNvPr id="10" name="object 10"/>
          <p:cNvSpPr txBox="1">
            <a:spLocks noGrp="1"/>
          </p:cNvSpPr>
          <p:nvPr>
            <p:ph type="ftr" sz="quarter" idx="5"/>
          </p:nvPr>
        </p:nvSpPr>
        <p:spPr>
          <a:xfrm>
            <a:off x="7167026" y="7274483"/>
            <a:ext cx="2647950" cy="117020"/>
          </a:xfrm>
          <a:prstGeom prst="rect">
            <a:avLst/>
          </a:prstGeom>
        </p:spPr>
        <p:txBody>
          <a:bodyPr vert="horz" wrap="square" lIns="0" tIns="0" rIns="0" bIns="0" rtlCol="0">
            <a:spAutoFit/>
          </a:body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a:t>
            </a:r>
            <a:r>
              <a:rPr lang="en-US" spc="-25">
                <a:latin typeface="Slate Pro" panose="02000506040000020004" pitchFamily="2" charset="0"/>
                <a:sym typeface="Slate Pro" panose="02000506040000020004" pitchFamily="2" charset="0"/>
              </a:rPr>
              <a:t> </a:t>
            </a:r>
            <a:r>
              <a:rPr lang="en-US" spc="-10">
                <a:latin typeface="Slate Pro" panose="02000506040000020004" pitchFamily="2" charset="0"/>
                <a:sym typeface="Slate Pro" panose="02000506040000020004" pitchFamily="2" charset="0"/>
              </a:rPr>
              <a:t>NETWORK</a:t>
            </a:r>
            <a:r>
              <a:rPr lang="en-US" spc="-25">
                <a:latin typeface="Slate Pro" panose="02000506040000020004" pitchFamily="2" charset="0"/>
                <a:sym typeface="Slate Pro" panose="02000506040000020004" pitchFamily="2" charset="0"/>
              </a:rPr>
              <a:t> </a:t>
            </a:r>
            <a:r>
              <a:rPr lang="en-US" spc="-60">
                <a:latin typeface="Slate Pro" panose="02000506040000020004" pitchFamily="2" charset="0"/>
                <a:sym typeface="Slate Pro" panose="02000506040000020004" pitchFamily="2" charset="0"/>
              </a:rPr>
              <a:t>–</a:t>
            </a:r>
            <a:r>
              <a:rPr lang="en-US" spc="-20">
                <a:latin typeface="Slate Pro" panose="02000506040000020004" pitchFamily="2" charset="0"/>
                <a:sym typeface="Slate Pro" panose="02000506040000020004" pitchFamily="2" charset="0"/>
              </a:rPr>
              <a:t> </a:t>
            </a:r>
            <a:r>
              <a:rPr lang="en-US">
                <a:latin typeface="Slate Pro" panose="02000506040000020004" pitchFamily="2" charset="0"/>
                <a:sym typeface="Slate Pro" panose="02000506040000020004" pitchFamily="2" charset="0"/>
              </a:rPr>
              <a:t>PROGRAM</a:t>
            </a:r>
            <a:r>
              <a:rPr lang="en-US" spc="-20">
                <a:latin typeface="Slate Pro" panose="02000506040000020004" pitchFamily="2" charset="0"/>
                <a:sym typeface="Slate Pro" panose="02000506040000020004" pitchFamily="2" charset="0"/>
              </a:rPr>
              <a:t> </a:t>
            </a:r>
            <a:r>
              <a:rPr lang="en-US" spc="-10">
                <a:latin typeface="Slate Pro" panose="02000506040000020004" pitchFamily="2" charset="0"/>
                <a:sym typeface="Slate Pro" panose="02000506040000020004" pitchFamily="2" charset="0"/>
              </a:rPr>
              <a:t>GUIDE</a:t>
            </a:r>
          </a:p>
        </p:txBody>
      </p:sp>
      <p:sp>
        <p:nvSpPr>
          <p:cNvPr id="2" name="TextBox 1">
            <a:extLst>
              <a:ext uri="{FF2B5EF4-FFF2-40B4-BE49-F238E27FC236}">
                <a16:creationId xmlns:a16="http://schemas.microsoft.com/office/drawing/2014/main" id="{F9FCCFD1-47CB-6F3E-E053-95995B063FF5}"/>
              </a:ext>
            </a:extLst>
          </p:cNvPr>
          <p:cNvSpPr txBox="1"/>
          <p:nvPr/>
        </p:nvSpPr>
        <p:spPr>
          <a:xfrm>
            <a:off x="502920" y="1046468"/>
            <a:ext cx="9681516" cy="523220"/>
          </a:xfrm>
          <a:prstGeom prst="rect">
            <a:avLst/>
          </a:prstGeom>
          <a:noFill/>
        </p:spPr>
        <p:txBody>
          <a:bodyPr wrap="square" lIns="0">
            <a:spAutoFit/>
          </a:bodyPr>
          <a:lstStyle/>
          <a:p>
            <a:pPr algn="l"/>
            <a:r>
              <a:rPr lang="en-US" sz="1400" dirty="0">
                <a:latin typeface="Slate Pro" panose="02000506040000020004" pitchFamily="2" charset="0"/>
                <a:sym typeface="Slate Pro" panose="02000506040000020004" pitchFamily="2" charset="0"/>
              </a:rPr>
              <a:t>To sell ACME products and solutions, Resellers must complete certain onboarding courses. Completing these courses also enables Partners to maintain (and advance) their status within the program.</a:t>
            </a:r>
          </a:p>
        </p:txBody>
      </p:sp>
      <p:graphicFrame>
        <p:nvGraphicFramePr>
          <p:cNvPr id="7" name="Table 6">
            <a:extLst>
              <a:ext uri="{FF2B5EF4-FFF2-40B4-BE49-F238E27FC236}">
                <a16:creationId xmlns:a16="http://schemas.microsoft.com/office/drawing/2014/main" id="{8B89B604-68FC-5C0A-450A-2C66268A7C2A}"/>
              </a:ext>
            </a:extLst>
          </p:cNvPr>
          <p:cNvGraphicFramePr>
            <a:graphicFrameLocks noGrp="1"/>
          </p:cNvGraphicFramePr>
          <p:nvPr>
            <p:extLst>
              <p:ext uri="{D42A27DB-BD31-4B8C-83A1-F6EECF244321}">
                <p14:modId xmlns:p14="http://schemas.microsoft.com/office/powerpoint/2010/main" val="3834553916"/>
              </p:ext>
            </p:extLst>
          </p:nvPr>
        </p:nvGraphicFramePr>
        <p:xfrm>
          <a:off x="337864" y="2148554"/>
          <a:ext cx="10003711" cy="4735600"/>
        </p:xfrm>
        <a:graphic>
          <a:graphicData uri="http://schemas.openxmlformats.org/drawingml/2006/table">
            <a:tbl>
              <a:tblPr/>
              <a:tblGrid>
                <a:gridCol w="1667285">
                  <a:extLst>
                    <a:ext uri="{9D8B030D-6E8A-4147-A177-3AD203B41FA5}">
                      <a16:colId xmlns:a16="http://schemas.microsoft.com/office/drawing/2014/main" val="209363713"/>
                    </a:ext>
                  </a:extLst>
                </a:gridCol>
                <a:gridCol w="1592093">
                  <a:extLst>
                    <a:ext uri="{9D8B030D-6E8A-4147-A177-3AD203B41FA5}">
                      <a16:colId xmlns:a16="http://schemas.microsoft.com/office/drawing/2014/main" val="1931332299"/>
                    </a:ext>
                  </a:extLst>
                </a:gridCol>
                <a:gridCol w="3714030">
                  <a:extLst>
                    <a:ext uri="{9D8B030D-6E8A-4147-A177-3AD203B41FA5}">
                      <a16:colId xmlns:a16="http://schemas.microsoft.com/office/drawing/2014/main" val="2280396092"/>
                    </a:ext>
                  </a:extLst>
                </a:gridCol>
                <a:gridCol w="1214397">
                  <a:extLst>
                    <a:ext uri="{9D8B030D-6E8A-4147-A177-3AD203B41FA5}">
                      <a16:colId xmlns:a16="http://schemas.microsoft.com/office/drawing/2014/main" val="2621577623"/>
                    </a:ext>
                  </a:extLst>
                </a:gridCol>
                <a:gridCol w="812239">
                  <a:extLst>
                    <a:ext uri="{9D8B030D-6E8A-4147-A177-3AD203B41FA5}">
                      <a16:colId xmlns:a16="http://schemas.microsoft.com/office/drawing/2014/main" val="409830436"/>
                    </a:ext>
                  </a:extLst>
                </a:gridCol>
                <a:gridCol w="1003667">
                  <a:extLst>
                    <a:ext uri="{9D8B030D-6E8A-4147-A177-3AD203B41FA5}">
                      <a16:colId xmlns:a16="http://schemas.microsoft.com/office/drawing/2014/main" val="835967482"/>
                    </a:ext>
                  </a:extLst>
                </a:gridCol>
              </a:tblGrid>
              <a:tr h="335956">
                <a:tc>
                  <a:txBody>
                    <a:bodyPr/>
                    <a:lstStyle/>
                    <a:p>
                      <a:pPr algn="ctr" rtl="0" fontAlgn="b"/>
                      <a:r>
                        <a:rPr lang="en-US" sz="1200" b="1" dirty="0">
                          <a:solidFill>
                            <a:schemeClr val="bg1"/>
                          </a:solidFill>
                          <a:effectLst/>
                          <a:latin typeface="Slate Pro" panose="02000506040000020004" pitchFamily="2" charset="0"/>
                          <a:sym typeface="Slate Pro" panose="02000506040000020004" pitchFamily="2" charset="0"/>
                        </a:rPr>
                        <a:t>Path</a:t>
                      </a:r>
                    </a:p>
                  </a:txBody>
                  <a:tcPr marL="58" marR="58" marT="38" marB="38"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Module </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dirty="0">
                          <a:solidFill>
                            <a:schemeClr val="bg1"/>
                          </a:solidFill>
                          <a:effectLst/>
                          <a:latin typeface="Slate Pro" panose="02000506040000020004" pitchFamily="2" charset="0"/>
                          <a:sym typeface="Slate Pro" panose="02000506040000020004" pitchFamily="2" charset="0"/>
                        </a:rPr>
                        <a:t>Description</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dirty="0">
                          <a:solidFill>
                            <a:schemeClr val="bg1"/>
                          </a:solidFill>
                          <a:effectLst/>
                          <a:latin typeface="Slate Pro" panose="02000506040000020004" pitchFamily="2" charset="0"/>
                          <a:sym typeface="Slate Pro" panose="02000506040000020004" pitchFamily="2" charset="0"/>
                        </a:rPr>
                        <a:t>Duration / Min.</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Audience </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Certs by Tier</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extLst>
                  <a:ext uri="{0D108BD9-81ED-4DB2-BD59-A6C34878D82A}">
                    <a16:rowId xmlns:a16="http://schemas.microsoft.com/office/drawing/2014/main" val="239160904"/>
                  </a:ext>
                </a:extLst>
              </a:tr>
              <a:tr h="778153">
                <a:tc rowSpan="2">
                  <a:txBody>
                    <a:bodyPr/>
                    <a:lstStyle/>
                    <a:p>
                      <a:pPr algn="ctr" rtl="0" fontAlgn="ctr"/>
                      <a:r>
                        <a:rPr lang="en-US" sz="1000" b="1" dirty="0">
                          <a:effectLst/>
                          <a:latin typeface="Slate Pro" panose="02000506040000020004" pitchFamily="2" charset="0"/>
                          <a:sym typeface="Slate Pro" panose="02000506040000020004" pitchFamily="2" charset="0"/>
                        </a:rPr>
                        <a:t>Introduction to ACME and the ACME Partner Program </a:t>
                      </a:r>
                    </a:p>
                  </a:txBody>
                  <a:tcPr marL="45720" marR="4572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b"/>
                      <a:r>
                        <a:rPr lang="en-US" sz="1000" dirty="0">
                          <a:effectLst/>
                          <a:latin typeface="Slate Pro" panose="02000506040000020004" pitchFamily="2" charset="0"/>
                          <a:sym typeface="Slate Pro" panose="02000506040000020004" pitchFamily="2" charset="0"/>
                        </a:rPr>
                        <a:t>Introduction to ACME</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00" dirty="0">
                          <a:effectLst/>
                          <a:latin typeface="Slate Pro" panose="02000506040000020004" pitchFamily="2" charset="0"/>
                          <a:sym typeface="Slate Pro" panose="02000506040000020004" pitchFamily="2" charset="0"/>
                        </a:rPr>
                        <a:t>Introduction to ACME</a:t>
                      </a:r>
                      <a:br>
                        <a:rPr lang="en-US" sz="1000" dirty="0">
                          <a:effectLst/>
                          <a:latin typeface="Slate Pro" panose="02000506040000020004" pitchFamily="2" charset="0"/>
                          <a:sym typeface="Slate Pro" panose="02000506040000020004" pitchFamily="2" charset="0"/>
                        </a:rPr>
                      </a:br>
                      <a:r>
                        <a:rPr lang="en-US" sz="1000" dirty="0">
                          <a:effectLst/>
                          <a:latin typeface="Slate Pro" panose="02000506040000020004" pitchFamily="2" charset="0"/>
                          <a:sym typeface="Slate Pro" panose="02000506040000020004" pitchFamily="2" charset="0"/>
                        </a:rPr>
                        <a:t>Telling the Story: ACME Messaging</a:t>
                      </a:r>
                      <a:br>
                        <a:rPr lang="en-US" sz="1000" dirty="0">
                          <a:effectLst/>
                          <a:latin typeface="Slate Pro" panose="02000506040000020004" pitchFamily="2" charset="0"/>
                          <a:sym typeface="Slate Pro" panose="02000506040000020004" pitchFamily="2" charset="0"/>
                        </a:rPr>
                      </a:br>
                      <a:r>
                        <a:rPr lang="en-US" sz="1000" dirty="0">
                          <a:effectLst/>
                          <a:latin typeface="Slate Pro" panose="02000506040000020004" pitchFamily="2" charset="0"/>
                          <a:sym typeface="Slate Pro" panose="02000506040000020004" pitchFamily="2" charset="0"/>
                        </a:rPr>
                        <a:t>A Changing World: Problems ACME Solves </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3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rowSpan="8">
                  <a:txBody>
                    <a:bodyPr/>
                    <a:lstStyle/>
                    <a:p>
                      <a:pPr algn="ctr" rtl="0" fontAlgn="b"/>
                      <a:r>
                        <a:rPr lang="en-US" sz="1000" dirty="0">
                          <a:effectLst/>
                          <a:latin typeface="Slate Pro" panose="02000506040000020004" pitchFamily="2" charset="0"/>
                          <a:sym typeface="Slate Pro" panose="02000506040000020004" pitchFamily="2" charset="0"/>
                        </a:rPr>
                        <a:t>Sales Professional</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rowSpan="8">
                  <a:txBody>
                    <a:bodyPr/>
                    <a:lstStyle/>
                    <a:p>
                      <a:pPr algn="ctr" rtl="0" fontAlgn="b"/>
                      <a:r>
                        <a:rPr lang="en-US" sz="1000" b="0" i="0" dirty="0">
                          <a:effectLst/>
                          <a:latin typeface="Slate Pro" panose="02000506040000020004" pitchFamily="2" charset="0"/>
                          <a:sym typeface="Slate Pro" panose="02000506040000020004" pitchFamily="2" charset="0"/>
                        </a:rPr>
                        <a:t>Gold (2)</a:t>
                      </a:r>
                      <a:br>
                        <a:rPr lang="en-US" sz="1000" b="0" i="0" dirty="0">
                          <a:effectLst/>
                          <a:latin typeface="Slate Pro" panose="02000506040000020004" pitchFamily="2" charset="0"/>
                          <a:sym typeface="Slate Pro" panose="02000506040000020004" pitchFamily="2" charset="0"/>
                        </a:rPr>
                      </a:br>
                      <a:r>
                        <a:rPr lang="en-US" sz="1000" b="0" i="0" dirty="0">
                          <a:effectLst/>
                          <a:latin typeface="Slate Pro" panose="02000506040000020004" pitchFamily="2" charset="0"/>
                          <a:sym typeface="Slate Pro" panose="02000506040000020004" pitchFamily="2" charset="0"/>
                        </a:rPr>
                        <a:t>Silver (1)</a:t>
                      </a:r>
                    </a:p>
                  </a:txBody>
                  <a:tcPr marL="45720" marR="45720"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3817013805"/>
                  </a:ext>
                </a:extLst>
              </a:tr>
              <a:tr h="345846">
                <a:tc vMerge="1">
                  <a:txBody>
                    <a:bodyPr/>
                    <a:lstStyle/>
                    <a:p>
                      <a:endParaRPr lang="en-US"/>
                    </a:p>
                  </a:txBody>
                  <a:tcPr/>
                </a:tc>
                <a:tc>
                  <a:txBody>
                    <a:bodyPr/>
                    <a:lstStyle/>
                    <a:p>
                      <a:pPr algn="ctr" rtl="0" fontAlgn="b"/>
                      <a:r>
                        <a:rPr lang="en-US" sz="1000">
                          <a:effectLst/>
                          <a:latin typeface="Slate Pro" panose="02000506040000020004" pitchFamily="2" charset="0"/>
                          <a:sym typeface="Slate Pro" panose="02000506040000020004" pitchFamily="2" charset="0"/>
                        </a:rPr>
                        <a:t>ACME Partner Program</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00" dirty="0">
                          <a:effectLst/>
                          <a:latin typeface="Slate Pro" panose="02000506040000020004" pitchFamily="2" charset="0"/>
                          <a:sym typeface="Slate Pro" panose="02000506040000020004" pitchFamily="2" charset="0"/>
                        </a:rPr>
                        <a:t>Overview of the ACME Partner Program and benefits</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3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33000628"/>
                  </a:ext>
                </a:extLst>
              </a:tr>
              <a:tr h="561999">
                <a:tc rowSpan="4">
                  <a:txBody>
                    <a:bodyPr/>
                    <a:lstStyle/>
                    <a:p>
                      <a:pPr algn="ctr" rtl="0" fontAlgn="ctr"/>
                      <a:r>
                        <a:rPr lang="en-US" sz="1000" b="1">
                          <a:effectLst/>
                          <a:latin typeface="Slate Pro" panose="02000506040000020004" pitchFamily="2" charset="0"/>
                          <a:sym typeface="Slate Pro" panose="02000506040000020004" pitchFamily="2" charset="0"/>
                        </a:rPr>
                        <a:t>Introduction to ACME Solution Portfolio</a:t>
                      </a:r>
                    </a:p>
                  </a:txBody>
                  <a:tcPr marL="45720" marR="4572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b"/>
                      <a:r>
                        <a:rPr lang="en-US" sz="1000">
                          <a:effectLst/>
                          <a:latin typeface="Slate Pro" panose="02000506040000020004" pitchFamily="2" charset="0"/>
                          <a:sym typeface="Slate Pro" panose="02000506040000020004" pitchFamily="2" charset="0"/>
                        </a:rPr>
                        <a:t>Portfolio / Solution Overview </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00" dirty="0">
                          <a:effectLst/>
                          <a:latin typeface="Slate Pro" panose="02000506040000020004" pitchFamily="2" charset="0"/>
                          <a:sym typeface="Slate Pro" panose="02000506040000020004" pitchFamily="2" charset="0"/>
                        </a:rPr>
                        <a:t>High level Product A &amp; industry Overview </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15</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4123362823"/>
                  </a:ext>
                </a:extLst>
              </a:tr>
              <a:tr h="345846">
                <a:tc vMerge="1">
                  <a:txBody>
                    <a:bodyPr/>
                    <a:lstStyle/>
                    <a:p>
                      <a:endParaRPr lang="en-US"/>
                    </a:p>
                  </a:txBody>
                  <a:tcPr/>
                </a:tc>
                <a:tc>
                  <a:txBody>
                    <a:bodyPr/>
                    <a:lstStyle/>
                    <a:p>
                      <a:pPr algn="ctr" rtl="0" fontAlgn="b"/>
                      <a:r>
                        <a:rPr lang="en-US" sz="1000" dirty="0">
                          <a:effectLst/>
                          <a:latin typeface="Slate Pro" panose="02000506040000020004" pitchFamily="2" charset="0"/>
                          <a:sym typeface="Slate Pro" panose="02000506040000020004" pitchFamily="2" charset="0"/>
                        </a:rPr>
                        <a:t>Product A </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rowSpan="3">
                  <a:txBody>
                    <a:bodyPr/>
                    <a:lstStyle/>
                    <a:p>
                      <a:pPr algn="ctr" rtl="0" fontAlgn="b"/>
                      <a:r>
                        <a:rPr lang="en-US" sz="1000">
                          <a:effectLst/>
                          <a:latin typeface="Slate Pro" panose="02000506040000020004" pitchFamily="2" charset="0"/>
                          <a:sym typeface="Slate Pro" panose="02000506040000020004" pitchFamily="2" charset="0"/>
                        </a:rPr>
                        <a:t>ICP, unique value proposition, modules, Who to sell to, success stories, pricing, questions to ask ICP, unique value</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3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dirty="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527778314"/>
                  </a:ext>
                </a:extLst>
              </a:tr>
              <a:tr h="345846">
                <a:tc vMerge="1">
                  <a:txBody>
                    <a:bodyPr/>
                    <a:lstStyle/>
                    <a:p>
                      <a:endParaRPr lang="en-US"/>
                    </a:p>
                  </a:txBody>
                  <a:tcPr/>
                </a:tc>
                <a:tc>
                  <a:txBody>
                    <a:bodyPr/>
                    <a:lstStyle/>
                    <a:p>
                      <a:pPr algn="ctr" rtl="0" fontAlgn="b"/>
                      <a:r>
                        <a:rPr lang="en-US" sz="1000" dirty="0">
                          <a:effectLst/>
                          <a:latin typeface="Slate Pro" panose="02000506040000020004" pitchFamily="2" charset="0"/>
                          <a:sym typeface="Slate Pro" panose="02000506040000020004" pitchFamily="2" charset="0"/>
                        </a:rPr>
                        <a:t>Product B</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b"/>
                      <a:r>
                        <a:rPr lang="en-US" sz="900" dirty="0">
                          <a:effectLst/>
                          <a:latin typeface="Proxima Nova Rg" panose="02000506030000020004" pitchFamily="50" charset="0"/>
                        </a:rPr>
                        <a:t>ICP, unique value proposition, modules, Who to sell to, success stories, pricing, questions to ask</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3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41307768"/>
                  </a:ext>
                </a:extLst>
              </a:tr>
              <a:tr h="345846">
                <a:tc vMerge="1">
                  <a:txBody>
                    <a:bodyPr/>
                    <a:lstStyle/>
                    <a:p>
                      <a:endParaRPr lang="en-US"/>
                    </a:p>
                  </a:txBody>
                  <a:tcPr/>
                </a:tc>
                <a:tc>
                  <a:txBody>
                    <a:bodyPr/>
                    <a:lstStyle/>
                    <a:p>
                      <a:pPr algn="ctr" rtl="0" fontAlgn="b"/>
                      <a:r>
                        <a:rPr lang="en-US" sz="1000" dirty="0">
                          <a:effectLst/>
                          <a:latin typeface="Slate Pro" panose="02000506040000020004" pitchFamily="2" charset="0"/>
                          <a:sym typeface="Slate Pro" panose="02000506040000020004" pitchFamily="2" charset="0"/>
                        </a:rPr>
                        <a:t>Product C</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b"/>
                      <a:r>
                        <a:rPr lang="en-US" sz="900" dirty="0">
                          <a:effectLst/>
                          <a:latin typeface="Proxima Nova Rg" panose="02000506030000020004" pitchFamily="50" charset="0"/>
                        </a:rPr>
                        <a:t>ICP, unique value proposition, modules, Who to sell to, success stories, pricing, questions to ask</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3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dirty="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369908582"/>
                  </a:ext>
                </a:extLst>
              </a:tr>
              <a:tr h="778153">
                <a:tc rowSpan="2">
                  <a:txBody>
                    <a:bodyPr/>
                    <a:lstStyle/>
                    <a:p>
                      <a:pPr algn="ctr" rtl="0" fontAlgn="ctr"/>
                      <a:r>
                        <a:rPr lang="en-US" sz="1000" b="1" dirty="0">
                          <a:effectLst/>
                          <a:latin typeface="Slate Pro" panose="02000506040000020004" pitchFamily="2" charset="0"/>
                          <a:sym typeface="Slate Pro" panose="02000506040000020004" pitchFamily="2" charset="0"/>
                        </a:rPr>
                        <a:t>ACME Sales Process &amp; Tools Overview</a:t>
                      </a:r>
                    </a:p>
                  </a:txBody>
                  <a:tcPr marL="45720" marR="4572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b"/>
                      <a:r>
                        <a:rPr lang="en-US" sz="1000">
                          <a:effectLst/>
                          <a:latin typeface="Slate Pro" panose="02000506040000020004" pitchFamily="2" charset="0"/>
                          <a:sym typeface="Slate Pro" panose="02000506040000020004" pitchFamily="2" charset="0"/>
                        </a:rPr>
                        <a:t>Deal Registration &amp; Referral Process &amp; Requirements</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00">
                          <a:effectLst/>
                          <a:latin typeface="Slate Pro" panose="02000506040000020004" pitchFamily="2" charset="0"/>
                          <a:sym typeface="Slate Pro" panose="02000506040000020004" pitchFamily="2" charset="0"/>
                        </a:rPr>
                        <a:t>Overview of the deal registration and program.</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6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dirty="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524705145"/>
                  </a:ext>
                </a:extLst>
              </a:tr>
              <a:tr h="561999">
                <a:tc vMerge="1">
                  <a:txBody>
                    <a:bodyPr/>
                    <a:lstStyle/>
                    <a:p>
                      <a:endParaRPr lang="en-US"/>
                    </a:p>
                  </a:txBody>
                  <a:tcPr/>
                </a:tc>
                <a:tc>
                  <a:txBody>
                    <a:bodyPr/>
                    <a:lstStyle/>
                    <a:p>
                      <a:pPr algn="ctr" rtl="0" fontAlgn="b"/>
                      <a:r>
                        <a:rPr lang="en-US" sz="1000">
                          <a:effectLst/>
                          <a:latin typeface="Slate Pro" panose="02000506040000020004" pitchFamily="2" charset="0"/>
                          <a:sym typeface="Slate Pro" panose="02000506040000020004" pitchFamily="2" charset="0"/>
                        </a:rPr>
                        <a:t>Partner Tools &amp; Communication </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00">
                          <a:effectLst/>
                          <a:latin typeface="Slate Pro" panose="02000506040000020004" pitchFamily="2" charset="0"/>
                          <a:sym typeface="Slate Pro" panose="02000506040000020004" pitchFamily="2" charset="0"/>
                        </a:rPr>
                        <a:t>Overview of partner tools and communication requirements, who to go to for support.</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00" dirty="0">
                          <a:effectLst/>
                          <a:latin typeface="Slate Pro" panose="02000506040000020004" pitchFamily="2" charset="0"/>
                          <a:sym typeface="Slate Pro" panose="02000506040000020004" pitchFamily="2" charset="0"/>
                        </a:rPr>
                        <a:t>15</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r>
                        <a:rPr lang="en-US" sz="1000" dirty="0">
                          <a:effectLst/>
                          <a:latin typeface="Proxima Nova Rg" panose="02000506030000020004" pitchFamily="50" charset="0"/>
                        </a:rPr>
                        <a:t>Sales Professional</a:t>
                      </a: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rtl="0" fontAlgn="b"/>
                      <a:endParaRPr lang="en-US" sz="1000" dirty="0">
                        <a:effectLst/>
                        <a:latin typeface="Proxima Nova Rg" panose="02000506030000020004" pitchFamily="50" charset="0"/>
                      </a:endParaRPr>
                    </a:p>
                  </a:txBody>
                  <a:tcPr marL="58" marR="58" marT="38" marB="38" anchor="b">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352986665"/>
                  </a:ext>
                </a:extLst>
              </a:tr>
              <a:tr h="335956">
                <a:tc>
                  <a:txBody>
                    <a:bodyPr/>
                    <a:lstStyle/>
                    <a:p>
                      <a:pPr algn="ctr" rtl="0" fontAlgn="ctr"/>
                      <a:endParaRPr lang="en-US" sz="100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endParaRPr lang="en-US" sz="1000" dirty="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r" rtl="0" fontAlgn="b"/>
                      <a:r>
                        <a:rPr lang="en-US" sz="1000">
                          <a:effectLst/>
                          <a:latin typeface="Slate Pro" panose="02000506040000020004" pitchFamily="2" charset="0"/>
                          <a:sym typeface="Slate Pro" panose="02000506040000020004" pitchFamily="2" charset="0"/>
                        </a:rPr>
                        <a:t>Total Duration</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r>
                        <a:rPr lang="en-US" sz="1000" dirty="0">
                          <a:effectLst/>
                          <a:latin typeface="Slate Pro" panose="02000506040000020004" pitchFamily="2" charset="0"/>
                          <a:sym typeface="Slate Pro" panose="02000506040000020004" pitchFamily="2" charset="0"/>
                        </a:rPr>
                        <a:t>240 min</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endParaRPr lang="en-US" sz="100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endParaRPr lang="en-US" sz="1000" dirty="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extLst>
                  <a:ext uri="{0D108BD9-81ED-4DB2-BD59-A6C34878D82A}">
                    <a16:rowId xmlns:a16="http://schemas.microsoft.com/office/drawing/2014/main" val="769592003"/>
                  </a:ext>
                </a:extLst>
              </a:tr>
            </a:tbl>
          </a:graphicData>
        </a:graphic>
      </p:graphicFrame>
      <p:sp>
        <p:nvSpPr>
          <p:cNvPr id="4" name="object 6">
            <a:extLst>
              <a:ext uri="{FF2B5EF4-FFF2-40B4-BE49-F238E27FC236}">
                <a16:creationId xmlns:a16="http://schemas.microsoft.com/office/drawing/2014/main" id="{8EBEAAB8-31A7-1D99-6D26-722549E0FB49}"/>
              </a:ext>
            </a:extLst>
          </p:cNvPr>
          <p:cNvSpPr txBox="1"/>
          <p:nvPr/>
        </p:nvSpPr>
        <p:spPr>
          <a:xfrm>
            <a:off x="1920502" y="1723606"/>
            <a:ext cx="7080831" cy="289823"/>
          </a:xfrm>
          <a:prstGeom prst="rect">
            <a:avLst/>
          </a:prstGeom>
        </p:spPr>
        <p:txBody>
          <a:bodyPr vert="horz" wrap="square" lIns="0" tIns="12700" rIns="0" bIns="0" rtlCol="0">
            <a:spAutoFit/>
          </a:bodyPr>
          <a:lstStyle/>
          <a:p>
            <a:pPr marL="12700" algn="ctr">
              <a:spcBef>
                <a:spcPts val="100"/>
              </a:spcBef>
            </a:pPr>
            <a:r>
              <a:rPr lang="en-US" b="1" spc="-50" dirty="0">
                <a:latin typeface="Slate Pro" panose="02000506040000020004" pitchFamily="2" charset="0"/>
                <a:cs typeface="Arial"/>
                <a:sym typeface="Slate Pro" panose="02000506040000020004" pitchFamily="2" charset="0"/>
              </a:rPr>
              <a:t>Partner Sales Onboarding – ACME Channel Sales Professional</a:t>
            </a:r>
            <a:endParaRPr lang="en-US" dirty="0">
              <a:latin typeface="Slate Pro" panose="02000506040000020004" pitchFamily="2" charset="0"/>
              <a:cs typeface="Arial"/>
              <a:sym typeface="Slate Pro" panose="02000506040000020004" pitchFamily="2" charset="0"/>
            </a:endParaRPr>
          </a:p>
        </p:txBody>
      </p:sp>
      <p:grpSp>
        <p:nvGrpSpPr>
          <p:cNvPr id="12" name="Group 11">
            <a:extLst>
              <a:ext uri="{FF2B5EF4-FFF2-40B4-BE49-F238E27FC236}">
                <a16:creationId xmlns:a16="http://schemas.microsoft.com/office/drawing/2014/main" id="{630AB8F5-EDD1-DB46-CF32-50EB6AFA02CD}"/>
              </a:ext>
            </a:extLst>
          </p:cNvPr>
          <p:cNvGrpSpPr/>
          <p:nvPr/>
        </p:nvGrpSpPr>
        <p:grpSpPr>
          <a:xfrm>
            <a:off x="157427" y="7205390"/>
            <a:ext cx="2416310" cy="276999"/>
            <a:chOff x="157428" y="7205390"/>
            <a:chExt cx="2132373" cy="276999"/>
          </a:xfrm>
        </p:grpSpPr>
        <p:sp>
          <p:nvSpPr>
            <p:cNvPr id="13" name="TextBox 12">
              <a:hlinkClick r:id="rId6" action="ppaction://hlinksldjump"/>
              <a:extLst>
                <a:ext uri="{FF2B5EF4-FFF2-40B4-BE49-F238E27FC236}">
                  <a16:creationId xmlns:a16="http://schemas.microsoft.com/office/drawing/2014/main" id="{B4F79195-4D56-5D73-C386-8F106690F30E}"/>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4" name="Arrow: Right 13">
              <a:extLst>
                <a:ext uri="{FF2B5EF4-FFF2-40B4-BE49-F238E27FC236}">
                  <a16:creationId xmlns:a16="http://schemas.microsoft.com/office/drawing/2014/main" id="{3A778E22-D651-54AF-3858-4FDB33ACFC15}"/>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1723390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532ECB-2F4B-6585-65FA-A402E2B55E11}"/>
              </a:ext>
            </a:extLst>
          </p:cNvPr>
          <p:cNvGraphicFramePr>
            <a:graphicFrameLocks noChangeAspect="1"/>
          </p:cNvGraphicFramePr>
          <p:nvPr>
            <p:custDataLst>
              <p:tags r:id="rId1"/>
            </p:custDataLst>
            <p:extLst>
              <p:ext uri="{D42A27DB-BD31-4B8C-83A1-F6EECF244321}">
                <p14:modId xmlns:p14="http://schemas.microsoft.com/office/powerpoint/2010/main" val="425785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Object 10" hidden="1">
                        <a:extLst>
                          <a:ext uri="{FF2B5EF4-FFF2-40B4-BE49-F238E27FC236}">
                            <a16:creationId xmlns:a16="http://schemas.microsoft.com/office/drawing/2014/main" id="{8E532ECB-2F4B-6585-65FA-A402E2B55E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p:nvPr>
        </p:nvSpPr>
        <p:spPr>
          <a:xfrm>
            <a:off x="502920" y="402336"/>
            <a:ext cx="10175102" cy="56297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Partner Sales Training Requirements</a:t>
            </a:r>
            <a:endParaRPr sz="3200" dirty="0">
              <a:solidFill>
                <a:srgbClr val="5A87C5"/>
              </a:solidFill>
            </a:endParaRPr>
          </a:p>
        </p:txBody>
      </p:sp>
      <p:sp>
        <p:nvSpPr>
          <p:cNvPr id="9" name="object 9"/>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21</a:t>
            </a:fld>
            <a:endParaRPr spc="-25"/>
          </a:p>
        </p:txBody>
      </p:sp>
      <p:sp>
        <p:nvSpPr>
          <p:cNvPr id="10" name="object 10"/>
          <p:cNvSpPr txBox="1">
            <a:spLocks noGrp="1"/>
          </p:cNvSpPr>
          <p:nvPr>
            <p:ph type="ftr" sz="quarter" idx="5"/>
          </p:nvPr>
        </p:nvSpPr>
        <p:spPr>
          <a:xfrm>
            <a:off x="7167026" y="7274483"/>
            <a:ext cx="2647950" cy="117020"/>
          </a:xfrm>
          <a:prstGeom prst="rect">
            <a:avLst/>
          </a:prstGeom>
        </p:spPr>
        <p:txBody>
          <a:bodyPr vert="horz" wrap="square" lIns="0" tIns="0" rIns="0" bIns="0" rtlCol="0">
            <a:spAutoFit/>
          </a:body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a:t>
            </a:r>
            <a:r>
              <a:rPr lang="en-US" spc="-25">
                <a:latin typeface="Slate Pro" panose="02000506040000020004" pitchFamily="2" charset="0"/>
                <a:sym typeface="Slate Pro" panose="02000506040000020004" pitchFamily="2" charset="0"/>
              </a:rPr>
              <a:t> </a:t>
            </a:r>
            <a:r>
              <a:rPr lang="en-US" spc="-10">
                <a:latin typeface="Slate Pro" panose="02000506040000020004" pitchFamily="2" charset="0"/>
                <a:sym typeface="Slate Pro" panose="02000506040000020004" pitchFamily="2" charset="0"/>
              </a:rPr>
              <a:t>NETWORK</a:t>
            </a:r>
            <a:r>
              <a:rPr lang="en-US" spc="-25">
                <a:latin typeface="Slate Pro" panose="02000506040000020004" pitchFamily="2" charset="0"/>
                <a:sym typeface="Slate Pro" panose="02000506040000020004" pitchFamily="2" charset="0"/>
              </a:rPr>
              <a:t> </a:t>
            </a:r>
            <a:r>
              <a:rPr lang="en-US" spc="-60">
                <a:latin typeface="Slate Pro" panose="02000506040000020004" pitchFamily="2" charset="0"/>
                <a:sym typeface="Slate Pro" panose="02000506040000020004" pitchFamily="2" charset="0"/>
              </a:rPr>
              <a:t>–</a:t>
            </a:r>
            <a:r>
              <a:rPr lang="en-US" spc="-20">
                <a:latin typeface="Slate Pro" panose="02000506040000020004" pitchFamily="2" charset="0"/>
                <a:sym typeface="Slate Pro" panose="02000506040000020004" pitchFamily="2" charset="0"/>
              </a:rPr>
              <a:t> </a:t>
            </a:r>
            <a:r>
              <a:rPr lang="en-US">
                <a:latin typeface="Slate Pro" panose="02000506040000020004" pitchFamily="2" charset="0"/>
                <a:sym typeface="Slate Pro" panose="02000506040000020004" pitchFamily="2" charset="0"/>
              </a:rPr>
              <a:t>PROGRAM</a:t>
            </a:r>
            <a:r>
              <a:rPr lang="en-US" spc="-20">
                <a:latin typeface="Slate Pro" panose="02000506040000020004" pitchFamily="2" charset="0"/>
                <a:sym typeface="Slate Pro" panose="02000506040000020004" pitchFamily="2" charset="0"/>
              </a:rPr>
              <a:t> </a:t>
            </a:r>
            <a:r>
              <a:rPr lang="en-US" spc="-10">
                <a:latin typeface="Slate Pro" panose="02000506040000020004" pitchFamily="2" charset="0"/>
                <a:sym typeface="Slate Pro" panose="02000506040000020004" pitchFamily="2" charset="0"/>
              </a:rPr>
              <a:t>GUIDE</a:t>
            </a:r>
          </a:p>
        </p:txBody>
      </p:sp>
      <p:graphicFrame>
        <p:nvGraphicFramePr>
          <p:cNvPr id="13" name="Table 12">
            <a:extLst>
              <a:ext uri="{FF2B5EF4-FFF2-40B4-BE49-F238E27FC236}">
                <a16:creationId xmlns:a16="http://schemas.microsoft.com/office/drawing/2014/main" id="{AEC0A895-6272-FE95-B5EF-EF56EE0C199E}"/>
              </a:ext>
            </a:extLst>
          </p:cNvPr>
          <p:cNvGraphicFramePr>
            <a:graphicFrameLocks noGrp="1"/>
          </p:cNvGraphicFramePr>
          <p:nvPr>
            <p:extLst>
              <p:ext uri="{D42A27DB-BD31-4B8C-83A1-F6EECF244321}">
                <p14:modId xmlns:p14="http://schemas.microsoft.com/office/powerpoint/2010/main" val="3271759248"/>
              </p:ext>
            </p:extLst>
          </p:nvPr>
        </p:nvGraphicFramePr>
        <p:xfrm>
          <a:off x="338328" y="2148840"/>
          <a:ext cx="9694885" cy="3788165"/>
        </p:xfrm>
        <a:graphic>
          <a:graphicData uri="http://schemas.openxmlformats.org/drawingml/2006/table">
            <a:tbl>
              <a:tblPr/>
              <a:tblGrid>
                <a:gridCol w="1615814">
                  <a:extLst>
                    <a:ext uri="{9D8B030D-6E8A-4147-A177-3AD203B41FA5}">
                      <a16:colId xmlns:a16="http://schemas.microsoft.com/office/drawing/2014/main" val="209363713"/>
                    </a:ext>
                  </a:extLst>
                </a:gridCol>
                <a:gridCol w="1562400">
                  <a:extLst>
                    <a:ext uri="{9D8B030D-6E8A-4147-A177-3AD203B41FA5}">
                      <a16:colId xmlns:a16="http://schemas.microsoft.com/office/drawing/2014/main" val="1931332299"/>
                    </a:ext>
                  </a:extLst>
                </a:gridCol>
                <a:gridCol w="3230613">
                  <a:extLst>
                    <a:ext uri="{9D8B030D-6E8A-4147-A177-3AD203B41FA5}">
                      <a16:colId xmlns:a16="http://schemas.microsoft.com/office/drawing/2014/main" val="2280396092"/>
                    </a:ext>
                  </a:extLst>
                </a:gridCol>
                <a:gridCol w="1334701">
                  <a:extLst>
                    <a:ext uri="{9D8B030D-6E8A-4147-A177-3AD203B41FA5}">
                      <a16:colId xmlns:a16="http://schemas.microsoft.com/office/drawing/2014/main" val="2621577623"/>
                    </a:ext>
                  </a:extLst>
                </a:gridCol>
                <a:gridCol w="884852">
                  <a:extLst>
                    <a:ext uri="{9D8B030D-6E8A-4147-A177-3AD203B41FA5}">
                      <a16:colId xmlns:a16="http://schemas.microsoft.com/office/drawing/2014/main" val="409830436"/>
                    </a:ext>
                  </a:extLst>
                </a:gridCol>
                <a:gridCol w="1066505">
                  <a:extLst>
                    <a:ext uri="{9D8B030D-6E8A-4147-A177-3AD203B41FA5}">
                      <a16:colId xmlns:a16="http://schemas.microsoft.com/office/drawing/2014/main" val="835967482"/>
                    </a:ext>
                  </a:extLst>
                </a:gridCol>
              </a:tblGrid>
              <a:tr h="274320">
                <a:tc>
                  <a:txBody>
                    <a:bodyPr/>
                    <a:lstStyle/>
                    <a:p>
                      <a:pPr algn="ctr" rtl="0" fontAlgn="b"/>
                      <a:r>
                        <a:rPr lang="en-US" sz="1200" b="1" dirty="0">
                          <a:solidFill>
                            <a:schemeClr val="bg1"/>
                          </a:solidFill>
                          <a:effectLst/>
                          <a:latin typeface="Slate Pro" panose="02000506040000020004" pitchFamily="2" charset="0"/>
                          <a:sym typeface="Slate Pro" panose="02000506040000020004" pitchFamily="2" charset="0"/>
                        </a:rPr>
                        <a:t>Path</a:t>
                      </a:r>
                    </a:p>
                  </a:txBody>
                  <a:tcPr marL="58" marR="58" marT="38" marB="38"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Module </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dirty="0">
                          <a:solidFill>
                            <a:schemeClr val="bg1"/>
                          </a:solidFill>
                          <a:effectLst/>
                          <a:latin typeface="Slate Pro" panose="02000506040000020004" pitchFamily="2" charset="0"/>
                          <a:sym typeface="Slate Pro" panose="02000506040000020004" pitchFamily="2" charset="0"/>
                        </a:rPr>
                        <a:t>Description</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Duration / Min.</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Audience </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tc>
                  <a:txBody>
                    <a:bodyPr/>
                    <a:lstStyle/>
                    <a:p>
                      <a:pPr algn="ctr" rtl="0" fontAlgn="b"/>
                      <a:r>
                        <a:rPr lang="en-US" sz="1200" b="1">
                          <a:solidFill>
                            <a:schemeClr val="bg1"/>
                          </a:solidFill>
                          <a:effectLst/>
                          <a:latin typeface="Slate Pro" panose="02000506040000020004" pitchFamily="2" charset="0"/>
                          <a:sym typeface="Slate Pro" panose="02000506040000020004" pitchFamily="2" charset="0"/>
                        </a:rPr>
                        <a:t>Certs by Tier</a:t>
                      </a:r>
                    </a:p>
                  </a:txBody>
                  <a:tcPr marL="58" marR="58" marT="38" marB="38"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chemeClr val="accent1"/>
                    </a:solidFill>
                  </a:tcPr>
                </a:tc>
                <a:extLst>
                  <a:ext uri="{0D108BD9-81ED-4DB2-BD59-A6C34878D82A}">
                    <a16:rowId xmlns:a16="http://schemas.microsoft.com/office/drawing/2014/main" val="239160904"/>
                  </a:ext>
                </a:extLst>
              </a:tr>
              <a:tr h="599386">
                <a:tc>
                  <a:txBody>
                    <a:bodyPr/>
                    <a:lstStyle/>
                    <a:p>
                      <a:pPr algn="ctr" rtl="0" fontAlgn="ctr"/>
                      <a:r>
                        <a:rPr lang="en-US" sz="1050" b="1" dirty="0">
                          <a:effectLst/>
                          <a:latin typeface="Slate Pro" panose="02000506040000020004" pitchFamily="2" charset="0"/>
                          <a:sym typeface="Slate Pro" panose="02000506040000020004" pitchFamily="2" charset="0"/>
                        </a:rPr>
                        <a:t>Industry Overviews </a:t>
                      </a:r>
                    </a:p>
                  </a:txBody>
                  <a:tcPr marL="9525" marR="9525" marT="6350" marB="635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ctr"/>
                      <a:r>
                        <a:rPr lang="en-US" sz="1050" dirty="0">
                          <a:effectLst/>
                          <a:latin typeface="Slate Pro" panose="02000506040000020004" pitchFamily="2" charset="0"/>
                          <a:sym typeface="Slate Pro" panose="02000506040000020004" pitchFamily="2" charset="0"/>
                        </a:rPr>
                        <a:t>Industry Overviews </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50" dirty="0">
                          <a:effectLst/>
                          <a:latin typeface="Slate Pro" panose="02000506040000020004" pitchFamily="2" charset="0"/>
                          <a:sym typeface="Slate Pro" panose="02000506040000020004" pitchFamily="2" charset="0"/>
                        </a:rPr>
                        <a:t>Automotive, Industrial, Life Sciences, Hi-Technology Food &amp; Beverage, Consumer Products.</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50" dirty="0">
                          <a:effectLst/>
                          <a:latin typeface="Slate Pro" panose="02000506040000020004" pitchFamily="2" charset="0"/>
                          <a:sym typeface="Slate Pro" panose="02000506040000020004" pitchFamily="2" charset="0"/>
                        </a:rPr>
                        <a:t>40</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rowSpan="4">
                  <a:txBody>
                    <a:bodyPr/>
                    <a:lstStyle/>
                    <a:p>
                      <a:pPr algn="ctr" rtl="0" fontAlgn="ctr"/>
                      <a:r>
                        <a:rPr lang="en-US" sz="1050">
                          <a:effectLst/>
                          <a:latin typeface="Slate Pro" panose="02000506040000020004" pitchFamily="2" charset="0"/>
                          <a:sym typeface="Slate Pro" panose="02000506040000020004" pitchFamily="2" charset="0"/>
                        </a:rPr>
                        <a:t>Sales Professional</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rowSpan="4">
                  <a:txBody>
                    <a:bodyPr/>
                    <a:lstStyle/>
                    <a:p>
                      <a:pPr algn="ctr" rtl="0" fontAlgn="b"/>
                      <a:r>
                        <a:rPr lang="en-US" sz="1050" b="0" i="0" dirty="0">
                          <a:effectLst/>
                          <a:latin typeface="Slate Pro" panose="02000506040000020004" pitchFamily="2" charset="0"/>
                          <a:sym typeface="Slate Pro" panose="02000506040000020004" pitchFamily="2" charset="0"/>
                        </a:rPr>
                        <a:t>Gold (2)</a:t>
                      </a:r>
                      <a:br>
                        <a:rPr lang="en-US" sz="1050" b="0" i="0" dirty="0">
                          <a:effectLst/>
                          <a:latin typeface="Slate Pro" panose="02000506040000020004" pitchFamily="2" charset="0"/>
                          <a:sym typeface="Slate Pro" panose="02000506040000020004" pitchFamily="2" charset="0"/>
                        </a:rPr>
                      </a:br>
                      <a:r>
                        <a:rPr lang="en-US" sz="1050" b="0" i="0" dirty="0">
                          <a:effectLst/>
                          <a:latin typeface="Slate Pro" panose="02000506040000020004" pitchFamily="2" charset="0"/>
                          <a:sym typeface="Slate Pro" panose="02000506040000020004" pitchFamily="2" charset="0"/>
                        </a:rPr>
                        <a:t>Silver (1)</a:t>
                      </a:r>
                      <a:endParaRPr lang="en-US" sz="1050" b="0" dirty="0">
                        <a:effectLst/>
                        <a:latin typeface="Slate Pro" panose="02000506040000020004" pitchFamily="2" charset="0"/>
                        <a:sym typeface="Slate Pro" panose="02000506040000020004" pitchFamily="2" charset="0"/>
                      </a:endParaRP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3817013805"/>
                  </a:ext>
                </a:extLst>
              </a:tr>
              <a:tr h="283229">
                <a:tc>
                  <a:txBody>
                    <a:bodyPr/>
                    <a:lstStyle/>
                    <a:p>
                      <a:pPr algn="ctr" rtl="0" fontAlgn="ctr"/>
                      <a:r>
                        <a:rPr lang="en-US" sz="1050" b="1" dirty="0">
                          <a:effectLst/>
                          <a:latin typeface="Slate Pro" panose="02000506040000020004" pitchFamily="2" charset="0"/>
                          <a:sym typeface="Slate Pro" panose="02000506040000020004" pitchFamily="2" charset="0"/>
                        </a:rPr>
                        <a:t>Solution Demos</a:t>
                      </a:r>
                    </a:p>
                  </a:txBody>
                  <a:tcPr marL="9525" marR="9525" marT="6350" marB="635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ctr"/>
                      <a:r>
                        <a:rPr lang="en-US" sz="1050">
                          <a:effectLst/>
                          <a:latin typeface="Slate Pro" panose="02000506040000020004" pitchFamily="2" charset="0"/>
                          <a:sym typeface="Slate Pro" panose="02000506040000020004" pitchFamily="2" charset="0"/>
                        </a:rPr>
                        <a:t>Solution Demos</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50" dirty="0">
                          <a:effectLst/>
                          <a:latin typeface="Slate Pro" panose="02000506040000020004" pitchFamily="2" charset="0"/>
                          <a:sym typeface="Slate Pro" panose="02000506040000020004" pitchFamily="2" charset="0"/>
                        </a:rPr>
                        <a:t>Demos: Product A, B, and C</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50" dirty="0">
                          <a:effectLst/>
                          <a:latin typeface="Slate Pro" panose="02000506040000020004" pitchFamily="2" charset="0"/>
                          <a:sym typeface="Slate Pro" panose="02000506040000020004" pitchFamily="2" charset="0"/>
                        </a:rPr>
                        <a:t>30</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ctr"/>
                      <a:r>
                        <a:rPr lang="en-US" sz="800">
                          <a:effectLst/>
                          <a:latin typeface="Proxima Nova Rg" panose="02000506030000020004" pitchFamily="50" charset="0"/>
                        </a:rPr>
                        <a:t>Sales Professional</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b"/>
                      <a:endParaRPr lang="en-US" sz="1000" dirty="0">
                        <a:effectLst/>
                        <a:latin typeface="Proxima Nova Rg" panose="02000506030000020004" pitchFamily="50" charset="0"/>
                      </a:endParaRP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3714665268"/>
                  </a:ext>
                </a:extLst>
              </a:tr>
              <a:tr h="599386">
                <a:tc>
                  <a:txBody>
                    <a:bodyPr/>
                    <a:lstStyle/>
                    <a:p>
                      <a:pPr algn="ctr" rtl="0" fontAlgn="ctr"/>
                      <a:r>
                        <a:rPr lang="en-US" sz="1050" b="1" dirty="0">
                          <a:effectLst/>
                          <a:latin typeface="Slate Pro" panose="02000506040000020004" pitchFamily="2" charset="0"/>
                          <a:sym typeface="Slate Pro" panose="02000506040000020004" pitchFamily="2" charset="0"/>
                        </a:rPr>
                        <a:t>Sales Methodology</a:t>
                      </a:r>
                    </a:p>
                  </a:txBody>
                  <a:tcPr marL="9525" marR="9525" marT="6350" marB="635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ctr"/>
                      <a:r>
                        <a:rPr lang="en-US" sz="1050" dirty="0">
                          <a:effectLst/>
                          <a:latin typeface="Slate Pro" panose="02000506040000020004" pitchFamily="2" charset="0"/>
                          <a:sym typeface="Slate Pro" panose="02000506040000020004" pitchFamily="2" charset="0"/>
                        </a:rPr>
                        <a:t>Sales Methodology </a:t>
                      </a:r>
                      <a:br>
                        <a:rPr lang="en-US" sz="1050" dirty="0">
                          <a:effectLst/>
                          <a:latin typeface="Slate Pro" panose="02000506040000020004" pitchFamily="2" charset="0"/>
                          <a:sym typeface="Slate Pro" panose="02000506040000020004" pitchFamily="2" charset="0"/>
                        </a:rPr>
                      </a:br>
                      <a:r>
                        <a:rPr lang="en-US" sz="1050" dirty="0">
                          <a:effectLst/>
                          <a:latin typeface="Slate Pro" panose="02000506040000020004" pitchFamily="2" charset="0"/>
                          <a:sym typeface="Slate Pro" panose="02000506040000020004" pitchFamily="2" charset="0"/>
                        </a:rPr>
                        <a:t>Documentation</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b"/>
                      <a:r>
                        <a:rPr lang="en-US" sz="1050" dirty="0">
                          <a:effectLst/>
                          <a:latin typeface="Slate Pro" panose="02000506040000020004" pitchFamily="2" charset="0"/>
                          <a:sym typeface="Slate Pro" panose="02000506040000020004" pitchFamily="2" charset="0"/>
                        </a:rPr>
                        <a:t>Overview of the company’s chosen </a:t>
                      </a:r>
                      <a:br>
                        <a:rPr lang="en-US" sz="1050" dirty="0">
                          <a:effectLst/>
                          <a:latin typeface="Slate Pro" panose="02000506040000020004" pitchFamily="2" charset="0"/>
                          <a:sym typeface="Slate Pro" panose="02000506040000020004" pitchFamily="2" charset="0"/>
                        </a:rPr>
                      </a:br>
                      <a:r>
                        <a:rPr lang="en-US" sz="1050" dirty="0">
                          <a:effectLst/>
                          <a:latin typeface="Slate Pro" panose="02000506040000020004" pitchFamily="2" charset="0"/>
                          <a:sym typeface="Slate Pro" panose="02000506040000020004" pitchFamily="2" charset="0"/>
                        </a:rPr>
                        <a:t>Sales Methodology</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50">
                          <a:effectLst/>
                          <a:latin typeface="Slate Pro" panose="02000506040000020004" pitchFamily="2" charset="0"/>
                          <a:sym typeface="Slate Pro" panose="02000506040000020004" pitchFamily="2" charset="0"/>
                        </a:rPr>
                        <a:t>60</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ctr"/>
                      <a:r>
                        <a:rPr lang="en-US" sz="800" dirty="0">
                          <a:effectLst/>
                          <a:latin typeface="Proxima Nova Rg" panose="02000506030000020004" pitchFamily="50" charset="0"/>
                        </a:rPr>
                        <a:t>Sales Professional</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b"/>
                      <a:endParaRPr lang="en-US" sz="1000" dirty="0">
                        <a:effectLst/>
                        <a:latin typeface="Proxima Nova Rg" panose="02000506030000020004" pitchFamily="50" charset="0"/>
                      </a:endParaRP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744384739"/>
                  </a:ext>
                </a:extLst>
              </a:tr>
              <a:tr h="1757524">
                <a:tc>
                  <a:txBody>
                    <a:bodyPr/>
                    <a:lstStyle/>
                    <a:p>
                      <a:pPr algn="ctr" rtl="0" fontAlgn="ctr"/>
                      <a:r>
                        <a:rPr lang="en-US" sz="1050" b="1">
                          <a:effectLst/>
                          <a:latin typeface="Slate Pro" panose="02000506040000020004" pitchFamily="2" charset="0"/>
                          <a:sym typeface="Slate Pro" panose="02000506040000020004" pitchFamily="2" charset="0"/>
                        </a:rPr>
                        <a:t>Partner Portal </a:t>
                      </a:r>
                    </a:p>
                  </a:txBody>
                  <a:tcPr marL="9525" marR="9525" marT="6350" marB="6350" anchor="ctr">
                    <a:lnL w="3175" cap="flat" cmpd="sng" algn="ctr">
                      <a:solidFill>
                        <a:srgbClr val="000000"/>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D9D9D9"/>
                    </a:solidFill>
                  </a:tcPr>
                </a:tc>
                <a:tc>
                  <a:txBody>
                    <a:bodyPr/>
                    <a:lstStyle/>
                    <a:p>
                      <a:pPr algn="ctr" rtl="0" fontAlgn="ctr"/>
                      <a:r>
                        <a:rPr lang="en-US" sz="1050">
                          <a:effectLst/>
                          <a:latin typeface="Slate Pro" panose="02000506040000020004" pitchFamily="2" charset="0"/>
                          <a:sym typeface="Slate Pro" panose="02000506040000020004" pitchFamily="2" charset="0"/>
                        </a:rPr>
                        <a:t>Partner Portal </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50">
                          <a:effectLst/>
                          <a:latin typeface="Slate Pro" panose="02000506040000020004" pitchFamily="2" charset="0"/>
                          <a:sym typeface="Slate Pro" panose="02000506040000020004" pitchFamily="2" charset="0"/>
                        </a:rPr>
                        <a:t>Partner Portal overview and benefits.</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a:txBody>
                    <a:bodyPr/>
                    <a:lstStyle/>
                    <a:p>
                      <a:pPr algn="ctr" rtl="0" fontAlgn="ctr"/>
                      <a:r>
                        <a:rPr lang="en-US" sz="1050" dirty="0">
                          <a:effectLst/>
                          <a:latin typeface="Slate Pro" panose="02000506040000020004" pitchFamily="2" charset="0"/>
                          <a:sym typeface="Slate Pro" panose="02000506040000020004" pitchFamily="2" charset="0"/>
                        </a:rPr>
                        <a:t>10</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ctr"/>
                      <a:r>
                        <a:rPr lang="en-US" sz="800" dirty="0">
                          <a:effectLst/>
                          <a:latin typeface="Proxima Nova Rg" panose="02000506030000020004" pitchFamily="50" charset="0"/>
                        </a:rPr>
                        <a:t>Sales Professional</a:t>
                      </a: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tc vMerge="1">
                  <a:txBody>
                    <a:bodyPr/>
                    <a:lstStyle/>
                    <a:p>
                      <a:pPr algn="ctr" rtl="0" fontAlgn="b"/>
                      <a:r>
                        <a:rPr lang="en-US" sz="1050" b="1" i="0" dirty="0">
                          <a:effectLst/>
                          <a:latin typeface="Proxima Nova Rg" panose="02000506030000020004" pitchFamily="50" charset="0"/>
                        </a:rPr>
                        <a:t>Gold (2)</a:t>
                      </a:r>
                      <a:br>
                        <a:rPr lang="en-US" sz="1050" b="1" i="0" dirty="0">
                          <a:effectLst/>
                          <a:latin typeface="Proxima Nova Rg" panose="02000506030000020004" pitchFamily="50" charset="0"/>
                        </a:rPr>
                      </a:br>
                      <a:r>
                        <a:rPr lang="en-US" sz="1050" i="0" dirty="0">
                          <a:effectLst/>
                          <a:latin typeface="Proxima Nova Rg" panose="02000506030000020004" pitchFamily="50" charset="0"/>
                        </a:rPr>
                        <a:t>Large Market </a:t>
                      </a:r>
                      <a:br>
                        <a:rPr lang="en-US" sz="1050" i="0" dirty="0">
                          <a:effectLst/>
                          <a:latin typeface="Proxima Nova Rg" panose="02000506030000020004" pitchFamily="50" charset="0"/>
                        </a:rPr>
                      </a:br>
                      <a:r>
                        <a:rPr lang="en-US" sz="1050" i="0" dirty="0">
                          <a:effectLst/>
                          <a:latin typeface="Proxima Nova Rg" panose="02000506030000020004" pitchFamily="50" charset="0"/>
                        </a:rPr>
                        <a:t>Small Market</a:t>
                      </a:r>
                      <a:br>
                        <a:rPr lang="en-US" sz="1050" i="0" dirty="0">
                          <a:effectLst/>
                          <a:latin typeface="Proxima Nova Rg" panose="02000506030000020004" pitchFamily="50" charset="0"/>
                        </a:rPr>
                      </a:br>
                      <a:r>
                        <a:rPr lang="en-US" sz="1050" b="1" i="0" dirty="0">
                          <a:effectLst/>
                          <a:latin typeface="Proxima Nova Rg" panose="02000506030000020004" pitchFamily="50" charset="0"/>
                        </a:rPr>
                        <a:t>Silver (1)</a:t>
                      </a:r>
                      <a:br>
                        <a:rPr lang="en-US" sz="1050" b="1" i="0" dirty="0">
                          <a:effectLst/>
                          <a:latin typeface="Proxima Nova Rg" panose="02000506030000020004" pitchFamily="50" charset="0"/>
                        </a:rPr>
                      </a:br>
                      <a:r>
                        <a:rPr lang="en-US" sz="1050" i="0" dirty="0">
                          <a:effectLst/>
                          <a:latin typeface="Proxima Nova Rg" panose="02000506030000020004" pitchFamily="50" charset="0"/>
                        </a:rPr>
                        <a:t>Large Market </a:t>
                      </a:r>
                      <a:br>
                        <a:rPr lang="en-US" sz="1050" i="0" dirty="0">
                          <a:effectLst/>
                          <a:latin typeface="Proxima Nova Rg" panose="02000506030000020004" pitchFamily="50" charset="0"/>
                        </a:rPr>
                      </a:br>
                      <a:r>
                        <a:rPr lang="en-US" sz="1050" i="0" dirty="0">
                          <a:effectLst/>
                          <a:latin typeface="Proxima Nova Rg" panose="02000506030000020004" pitchFamily="50" charset="0"/>
                        </a:rPr>
                        <a:t>Small Market</a:t>
                      </a:r>
                      <a:endParaRPr lang="en-US" sz="1050" dirty="0">
                        <a:effectLst/>
                        <a:latin typeface="Proxima Nova Rg" panose="02000506030000020004" pitchFamily="50" charset="0"/>
                      </a:endParaRPr>
                    </a:p>
                  </a:txBody>
                  <a:tcPr marL="9525" marR="9525" marT="6350" marB="6350" anchor="ctr">
                    <a:lnL w="3175" cap="flat" cmpd="sng" algn="ctr">
                      <a:solidFill>
                        <a:srgbClr val="CCCCCC"/>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746457750"/>
                  </a:ext>
                </a:extLst>
              </a:tr>
              <a:tr h="274320">
                <a:tc>
                  <a:txBody>
                    <a:bodyPr/>
                    <a:lstStyle/>
                    <a:p>
                      <a:pPr algn="ctr" rtl="0" fontAlgn="ctr"/>
                      <a:endParaRPr lang="en-US" sz="105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endParaRPr lang="en-US" sz="105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r" rtl="0" fontAlgn="b"/>
                      <a:r>
                        <a:rPr lang="en-US" sz="1050">
                          <a:effectLst/>
                          <a:latin typeface="Slate Pro" panose="02000506040000020004" pitchFamily="2" charset="0"/>
                          <a:sym typeface="Slate Pro" panose="02000506040000020004" pitchFamily="2" charset="0"/>
                        </a:rPr>
                        <a:t>Total Duration</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r>
                        <a:rPr lang="en-US" sz="1050">
                          <a:effectLst/>
                          <a:latin typeface="Slate Pro" panose="02000506040000020004" pitchFamily="2" charset="0"/>
                          <a:sym typeface="Slate Pro" panose="02000506040000020004" pitchFamily="2" charset="0"/>
                        </a:rPr>
                        <a:t>140</a:t>
                      </a: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endParaRPr lang="en-US" sz="105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tc>
                  <a:txBody>
                    <a:bodyPr/>
                    <a:lstStyle/>
                    <a:p>
                      <a:pPr algn="ctr" rtl="0" fontAlgn="b"/>
                      <a:endParaRPr lang="en-US" sz="1050" dirty="0">
                        <a:effectLst/>
                        <a:latin typeface="Slate Pro" panose="02000506040000020004" pitchFamily="2" charset="0"/>
                        <a:sym typeface="Slate Pro" panose="02000506040000020004" pitchFamily="2" charset="0"/>
                      </a:endParaRPr>
                    </a:p>
                  </a:txBody>
                  <a:tcPr marL="45720" marR="45720" anchor="ctr">
                    <a:lnL w="3175" cap="flat" cmpd="sng" algn="ctr">
                      <a:solidFill>
                        <a:srgbClr val="CCCCCC"/>
                      </a:solidFill>
                      <a:prstDash val="solid"/>
                      <a:round/>
                      <a:headEnd type="none" w="med" len="med"/>
                      <a:tailEnd type="none" w="med" len="med"/>
                    </a:lnL>
                    <a:lnR w="3175" cap="flat" cmpd="sng" algn="ctr">
                      <a:solidFill>
                        <a:srgbClr val="CCCCCC"/>
                      </a:solidFill>
                      <a:prstDash val="solid"/>
                      <a:round/>
                      <a:headEnd type="none" w="med" len="med"/>
                      <a:tailEnd type="none" w="med" len="med"/>
                    </a:lnR>
                    <a:lnT w="3175" cap="flat" cmpd="sng" algn="ctr">
                      <a:solidFill>
                        <a:srgbClr val="CCCCCC"/>
                      </a:solidFill>
                      <a:prstDash val="solid"/>
                      <a:round/>
                      <a:headEnd type="none" w="med" len="med"/>
                      <a:tailEnd type="none" w="med" len="med"/>
                    </a:lnT>
                    <a:lnB w="3175" cap="flat" cmpd="sng" algn="ctr">
                      <a:solidFill>
                        <a:srgbClr val="CCCCCC"/>
                      </a:solidFill>
                      <a:prstDash val="solid"/>
                      <a:round/>
                      <a:headEnd type="none" w="med" len="med"/>
                      <a:tailEnd type="none" w="med" len="med"/>
                    </a:lnB>
                    <a:solidFill>
                      <a:srgbClr val="FF9900"/>
                    </a:solidFill>
                  </a:tcPr>
                </a:tc>
                <a:extLst>
                  <a:ext uri="{0D108BD9-81ED-4DB2-BD59-A6C34878D82A}">
                    <a16:rowId xmlns:a16="http://schemas.microsoft.com/office/drawing/2014/main" val="769592003"/>
                  </a:ext>
                </a:extLst>
              </a:tr>
            </a:tbl>
          </a:graphicData>
        </a:graphic>
      </p:graphicFrame>
      <p:sp>
        <p:nvSpPr>
          <p:cNvPr id="5" name="TextBox 4">
            <a:extLst>
              <a:ext uri="{FF2B5EF4-FFF2-40B4-BE49-F238E27FC236}">
                <a16:creationId xmlns:a16="http://schemas.microsoft.com/office/drawing/2014/main" id="{ACA95CE2-35BF-470A-C873-D296D1E2D37D}"/>
              </a:ext>
            </a:extLst>
          </p:cNvPr>
          <p:cNvSpPr txBox="1"/>
          <p:nvPr/>
        </p:nvSpPr>
        <p:spPr>
          <a:xfrm>
            <a:off x="502920" y="1042416"/>
            <a:ext cx="9681516" cy="523220"/>
          </a:xfrm>
          <a:prstGeom prst="rect">
            <a:avLst/>
          </a:prstGeom>
          <a:noFill/>
        </p:spPr>
        <p:txBody>
          <a:bodyPr wrap="square" lIns="0">
            <a:spAutoFit/>
          </a:bodyPr>
          <a:lstStyle/>
          <a:p>
            <a:pPr algn="l"/>
            <a:r>
              <a:rPr lang="en-US" sz="1400" dirty="0">
                <a:latin typeface="Slate Pro" panose="02000506040000020004" pitchFamily="2" charset="0"/>
                <a:sym typeface="Slate Pro" panose="02000506040000020004" pitchFamily="2" charset="0"/>
              </a:rPr>
              <a:t>Resellers and Resellers who wish to further upskill their sellers beyond the required onboarding courses can enroll them in advanced training courses that deepen their ability to sell ACME products.</a:t>
            </a:r>
          </a:p>
        </p:txBody>
      </p:sp>
      <p:sp>
        <p:nvSpPr>
          <p:cNvPr id="6" name="object 6">
            <a:extLst>
              <a:ext uri="{FF2B5EF4-FFF2-40B4-BE49-F238E27FC236}">
                <a16:creationId xmlns:a16="http://schemas.microsoft.com/office/drawing/2014/main" id="{0FC37C33-B256-B5B5-F7B6-83BA4AB8E470}"/>
              </a:ext>
            </a:extLst>
          </p:cNvPr>
          <p:cNvSpPr txBox="1"/>
          <p:nvPr/>
        </p:nvSpPr>
        <p:spPr>
          <a:xfrm>
            <a:off x="1920240" y="1728216"/>
            <a:ext cx="7080831" cy="289823"/>
          </a:xfrm>
          <a:prstGeom prst="rect">
            <a:avLst/>
          </a:prstGeom>
        </p:spPr>
        <p:txBody>
          <a:bodyPr vert="horz" wrap="square" lIns="0" tIns="12700" rIns="0" bIns="0" rtlCol="0">
            <a:spAutoFit/>
          </a:bodyPr>
          <a:lstStyle/>
          <a:p>
            <a:pPr marL="12700" algn="ctr">
              <a:spcBef>
                <a:spcPts val="100"/>
              </a:spcBef>
            </a:pPr>
            <a:r>
              <a:rPr lang="en-US" b="1" spc="-50" dirty="0">
                <a:latin typeface="Slate Pro" panose="02000506040000020004" pitchFamily="2" charset="0"/>
                <a:cs typeface="Arial"/>
                <a:sym typeface="Slate Pro" panose="02000506040000020004" pitchFamily="2" charset="0"/>
              </a:rPr>
              <a:t>Partner Sales Training – Advanced</a:t>
            </a:r>
            <a:endParaRPr lang="en-US" dirty="0">
              <a:latin typeface="Slate Pro" panose="02000506040000020004" pitchFamily="2" charset="0"/>
              <a:cs typeface="Arial"/>
              <a:sym typeface="Slate Pro" panose="02000506040000020004" pitchFamily="2" charset="0"/>
            </a:endParaRPr>
          </a:p>
        </p:txBody>
      </p:sp>
      <p:grpSp>
        <p:nvGrpSpPr>
          <p:cNvPr id="8" name="Group 7">
            <a:extLst>
              <a:ext uri="{FF2B5EF4-FFF2-40B4-BE49-F238E27FC236}">
                <a16:creationId xmlns:a16="http://schemas.microsoft.com/office/drawing/2014/main" id="{774D432A-854D-716D-4400-A1A675F18491}"/>
              </a:ext>
            </a:extLst>
          </p:cNvPr>
          <p:cNvGrpSpPr/>
          <p:nvPr/>
        </p:nvGrpSpPr>
        <p:grpSpPr>
          <a:xfrm>
            <a:off x="157427" y="7205390"/>
            <a:ext cx="2416310" cy="276999"/>
            <a:chOff x="157428" y="7205390"/>
            <a:chExt cx="2132373" cy="276999"/>
          </a:xfrm>
        </p:grpSpPr>
        <p:sp>
          <p:nvSpPr>
            <p:cNvPr id="12" name="TextBox 11">
              <a:hlinkClick r:id="rId6" action="ppaction://hlinksldjump"/>
              <a:extLst>
                <a:ext uri="{FF2B5EF4-FFF2-40B4-BE49-F238E27FC236}">
                  <a16:creationId xmlns:a16="http://schemas.microsoft.com/office/drawing/2014/main" id="{4C76CC5F-056B-DE2C-93C7-86AC76148140}"/>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4" name="Arrow: Right 13">
              <a:extLst>
                <a:ext uri="{FF2B5EF4-FFF2-40B4-BE49-F238E27FC236}">
                  <a16:creationId xmlns:a16="http://schemas.microsoft.com/office/drawing/2014/main" id="{FB2820F5-12BD-B07B-FC99-77B095D8D752}"/>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39728466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B0B3ACC-8F74-D043-FCE4-348B8F5E43A0}"/>
              </a:ext>
            </a:extLst>
          </p:cNvPr>
          <p:cNvGraphicFramePr>
            <a:graphicFrameLocks noChangeAspect="1"/>
          </p:cNvGraphicFramePr>
          <p:nvPr>
            <p:custDataLst>
              <p:tags r:id="rId1"/>
            </p:custDataLst>
            <p:extLst>
              <p:ext uri="{D42A27DB-BD31-4B8C-83A1-F6EECF244321}">
                <p14:modId xmlns:p14="http://schemas.microsoft.com/office/powerpoint/2010/main" val="755264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Object 16" hidden="1">
                        <a:extLst>
                          <a:ext uri="{FF2B5EF4-FFF2-40B4-BE49-F238E27FC236}">
                            <a16:creationId xmlns:a16="http://schemas.microsoft.com/office/drawing/2014/main" id="{7B0B3ACC-8F74-D043-FCE4-348B8F5E4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descr="Close-up of raised hands at office training with speaker out of focus in background">
            <a:extLst>
              <a:ext uri="{FF2B5EF4-FFF2-40B4-BE49-F238E27FC236}">
                <a16:creationId xmlns:a16="http://schemas.microsoft.com/office/drawing/2014/main" id="{D2D61F55-6655-C362-E274-AA3967C5AE2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336468" y="2"/>
            <a:ext cx="7356932" cy="7092327"/>
          </a:xfrm>
          <a:prstGeom prst="rect">
            <a:avLst/>
          </a:prstGeom>
        </p:spPr>
      </p:pic>
      <p:sp>
        <p:nvSpPr>
          <p:cNvPr id="2" name="object 2"/>
          <p:cNvSpPr/>
          <p:nvPr/>
        </p:nvSpPr>
        <p:spPr>
          <a:xfrm>
            <a:off x="2" y="14"/>
            <a:ext cx="5346065" cy="7092315"/>
          </a:xfrm>
          <a:custGeom>
            <a:avLst/>
            <a:gdLst/>
            <a:ahLst/>
            <a:cxnLst/>
            <a:rect l="l" t="t" r="r" b="b"/>
            <a:pathLst>
              <a:path w="5346065" h="7092315">
                <a:moveTo>
                  <a:pt x="5346001" y="0"/>
                </a:moveTo>
                <a:lnTo>
                  <a:pt x="0" y="0"/>
                </a:lnTo>
                <a:lnTo>
                  <a:pt x="0" y="7091997"/>
                </a:lnTo>
                <a:lnTo>
                  <a:pt x="5346001" y="7091997"/>
                </a:lnTo>
                <a:lnTo>
                  <a:pt x="5346001" y="0"/>
                </a:lnTo>
                <a:close/>
              </a:path>
            </a:pathLst>
          </a:custGeom>
          <a:solidFill>
            <a:srgbClr val="4D4F56"/>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3" name="object 3"/>
          <p:cNvSpPr txBox="1"/>
          <p:nvPr/>
        </p:nvSpPr>
        <p:spPr>
          <a:xfrm>
            <a:off x="527301" y="1600472"/>
            <a:ext cx="4176675" cy="2869503"/>
          </a:xfrm>
          <a:prstGeom prst="rect">
            <a:avLst/>
          </a:prstGeom>
        </p:spPr>
        <p:txBody>
          <a:bodyPr vert="horz" wrap="square" lIns="0" tIns="12700" rIns="0" bIns="0" rtlCol="0">
            <a:spAutoFit/>
          </a:bodyPr>
          <a:lstStyle/>
          <a:p>
            <a:pPr marL="12700" marR="353695" algn="l">
              <a:lnSpc>
                <a:spcPct val="117400"/>
              </a:lnSpc>
              <a:spcBef>
                <a:spcPts val="750"/>
              </a:spcBef>
            </a:pPr>
            <a:r>
              <a:rPr lang="en-US" sz="1400" spc="-50" dirty="0">
                <a:solidFill>
                  <a:srgbClr val="FFFFFF"/>
                </a:solidFill>
                <a:latin typeface="Slate Pro" panose="02000506040000020004" pitchFamily="2" charset="0"/>
                <a:cs typeface="Arial"/>
                <a:sym typeface="Slate Pro" panose="02000506040000020004" pitchFamily="2" charset="0"/>
              </a:rPr>
              <a:t>We understand the need to keep our Implementation Partners up to speed on ACME products and solutions, so that you may better serve our mutual customers. That’s why we have invested in a robust technical certification program. As part of the program, we offer seats in self-guided and in-person courses. </a:t>
            </a:r>
          </a:p>
          <a:p>
            <a:pPr marL="12700" marR="353695" algn="l">
              <a:lnSpc>
                <a:spcPct val="117400"/>
              </a:lnSpc>
              <a:spcBef>
                <a:spcPts val="750"/>
              </a:spcBef>
            </a:pPr>
            <a:r>
              <a:rPr lang="en-US" sz="1400" spc="-50" dirty="0">
                <a:solidFill>
                  <a:srgbClr val="FFFFFF"/>
                </a:solidFill>
                <a:latin typeface="Slate Pro" panose="02000506040000020004" pitchFamily="2" charset="0"/>
                <a:cs typeface="Arial"/>
                <a:sym typeface="Slate Pro" panose="02000506040000020004" pitchFamily="2" charset="0"/>
              </a:rPr>
              <a:t>The technical certification tracks that ACME offers are specific to ACME products.  For details around training courses, certifications, schedules, and costs, please visit the </a:t>
            </a:r>
            <a:r>
              <a:rPr lang="en-US" sz="1400" spc="-50" dirty="0">
                <a:solidFill>
                  <a:schemeClr val="bg1"/>
                </a:solidFill>
                <a:latin typeface="Slate Pro" panose="02000506040000020004" pitchFamily="2" charset="0"/>
                <a:cs typeface="Arial"/>
                <a:sym typeface="Slate Pro" panose="02000506040000020004" pitchFamily="2" charset="0"/>
              </a:rPr>
              <a:t>ACME  Partner Portal - Education and  Readiness to learn more.</a:t>
            </a:r>
            <a:endParaRPr lang="en-US" sz="1400" dirty="0">
              <a:solidFill>
                <a:schemeClr val="bg1"/>
              </a:solidFill>
              <a:latin typeface="Slate Pro" panose="02000506040000020004" pitchFamily="2" charset="0"/>
              <a:cs typeface="Trebuchet MS"/>
              <a:sym typeface="Slate Pro" panose="02000506040000020004" pitchFamily="2" charset="0"/>
            </a:endParaRPr>
          </a:p>
        </p:txBody>
      </p:sp>
      <p:sp>
        <p:nvSpPr>
          <p:cNvPr id="4" name="object 4"/>
          <p:cNvSpPr txBox="1">
            <a:spLocks noGrp="1"/>
          </p:cNvSpPr>
          <p:nvPr>
            <p:ph type="title"/>
          </p:nvPr>
        </p:nvSpPr>
        <p:spPr>
          <a:xfrm>
            <a:off x="527302" y="402993"/>
            <a:ext cx="3622675"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FFFFFF"/>
                </a:solidFill>
              </a:rPr>
              <a:t>Technical Certifications</a:t>
            </a:r>
            <a:endParaRPr sz="3200" dirty="0">
              <a:solidFill>
                <a:srgbClr val="FFFFFF"/>
              </a:solidFill>
            </a:endParaRPr>
          </a:p>
        </p:txBody>
      </p:sp>
      <p:sp>
        <p:nvSpPr>
          <p:cNvPr id="15" name="object 15"/>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22</a:t>
            </a:fld>
            <a:endParaRPr spc="-25"/>
          </a:p>
        </p:txBody>
      </p:sp>
      <p:sp>
        <p:nvSpPr>
          <p:cNvPr id="12" name="Holder 4">
            <a:extLst>
              <a:ext uri="{FF2B5EF4-FFF2-40B4-BE49-F238E27FC236}">
                <a16:creationId xmlns:a16="http://schemas.microsoft.com/office/drawing/2014/main" id="{E848F05D-FFF1-97AD-EDC8-F733AF091707}"/>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8" name="Group 7">
            <a:extLst>
              <a:ext uri="{FF2B5EF4-FFF2-40B4-BE49-F238E27FC236}">
                <a16:creationId xmlns:a16="http://schemas.microsoft.com/office/drawing/2014/main" id="{5048BB34-D6F3-C6C5-C8C7-9BC71195A2BA}"/>
              </a:ext>
            </a:extLst>
          </p:cNvPr>
          <p:cNvGrpSpPr/>
          <p:nvPr/>
        </p:nvGrpSpPr>
        <p:grpSpPr>
          <a:xfrm>
            <a:off x="157427" y="7205390"/>
            <a:ext cx="2416310" cy="276999"/>
            <a:chOff x="157428" y="7205390"/>
            <a:chExt cx="2132373" cy="276999"/>
          </a:xfrm>
        </p:grpSpPr>
        <p:sp>
          <p:nvSpPr>
            <p:cNvPr id="9" name="TextBox 8">
              <a:hlinkClick r:id="rId7" action="ppaction://hlinksldjump"/>
              <a:extLst>
                <a:ext uri="{FF2B5EF4-FFF2-40B4-BE49-F238E27FC236}">
                  <a16:creationId xmlns:a16="http://schemas.microsoft.com/office/drawing/2014/main" id="{BD2FBB54-16DB-F1EB-77B8-DD26175A0295}"/>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0" name="Arrow: Right 9">
              <a:extLst>
                <a:ext uri="{FF2B5EF4-FFF2-40B4-BE49-F238E27FC236}">
                  <a16:creationId xmlns:a16="http://schemas.microsoft.com/office/drawing/2014/main" id="{B5B63744-F044-F997-1404-83841F7B367E}"/>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532ECB-2F4B-6585-65FA-A402E2B55E11}"/>
              </a:ext>
            </a:extLst>
          </p:cNvPr>
          <p:cNvGraphicFramePr>
            <a:graphicFrameLocks noChangeAspect="1"/>
          </p:cNvGraphicFramePr>
          <p:nvPr>
            <p:custDataLst>
              <p:tags r:id="rId1"/>
            </p:custDataLst>
            <p:extLst>
              <p:ext uri="{D42A27DB-BD31-4B8C-83A1-F6EECF244321}">
                <p14:modId xmlns:p14="http://schemas.microsoft.com/office/powerpoint/2010/main" val="3553845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Object 10" hidden="1">
                        <a:extLst>
                          <a:ext uri="{FF2B5EF4-FFF2-40B4-BE49-F238E27FC236}">
                            <a16:creationId xmlns:a16="http://schemas.microsoft.com/office/drawing/2014/main" id="{8E532ECB-2F4B-6585-65FA-A402E2B55E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object 2"/>
          <p:cNvGraphicFramePr>
            <a:graphicFrameLocks noGrp="1"/>
          </p:cNvGraphicFramePr>
          <p:nvPr>
            <p:extLst>
              <p:ext uri="{D42A27DB-BD31-4B8C-83A1-F6EECF244321}">
                <p14:modId xmlns:p14="http://schemas.microsoft.com/office/powerpoint/2010/main" val="3237510236"/>
              </p:ext>
            </p:extLst>
          </p:nvPr>
        </p:nvGraphicFramePr>
        <p:xfrm>
          <a:off x="512629" y="2468119"/>
          <a:ext cx="9668144" cy="4194904"/>
        </p:xfrm>
        <a:graphic>
          <a:graphicData uri="http://schemas.openxmlformats.org/drawingml/2006/table">
            <a:tbl>
              <a:tblPr firstRow="1" bandRow="1">
                <a:tableStyleId>{2D5ABB26-0587-4C30-8999-92F81FD0307C}</a:tableStyleId>
              </a:tblPr>
              <a:tblGrid>
                <a:gridCol w="1297121">
                  <a:extLst>
                    <a:ext uri="{9D8B030D-6E8A-4147-A177-3AD203B41FA5}">
                      <a16:colId xmlns:a16="http://schemas.microsoft.com/office/drawing/2014/main" val="20000"/>
                    </a:ext>
                  </a:extLst>
                </a:gridCol>
                <a:gridCol w="1495425">
                  <a:extLst>
                    <a:ext uri="{9D8B030D-6E8A-4147-A177-3AD203B41FA5}">
                      <a16:colId xmlns:a16="http://schemas.microsoft.com/office/drawing/2014/main" val="1157729565"/>
                    </a:ext>
                  </a:extLst>
                </a:gridCol>
                <a:gridCol w="1145933">
                  <a:extLst>
                    <a:ext uri="{9D8B030D-6E8A-4147-A177-3AD203B41FA5}">
                      <a16:colId xmlns:a16="http://schemas.microsoft.com/office/drawing/2014/main" val="3121611893"/>
                    </a:ext>
                  </a:extLst>
                </a:gridCol>
                <a:gridCol w="1145933">
                  <a:extLst>
                    <a:ext uri="{9D8B030D-6E8A-4147-A177-3AD203B41FA5}">
                      <a16:colId xmlns:a16="http://schemas.microsoft.com/office/drawing/2014/main" val="163185799"/>
                    </a:ext>
                  </a:extLst>
                </a:gridCol>
                <a:gridCol w="1145933">
                  <a:extLst>
                    <a:ext uri="{9D8B030D-6E8A-4147-A177-3AD203B41FA5}">
                      <a16:colId xmlns:a16="http://schemas.microsoft.com/office/drawing/2014/main" val="2921973170"/>
                    </a:ext>
                  </a:extLst>
                </a:gridCol>
                <a:gridCol w="1145933">
                  <a:extLst>
                    <a:ext uri="{9D8B030D-6E8A-4147-A177-3AD203B41FA5}">
                      <a16:colId xmlns:a16="http://schemas.microsoft.com/office/drawing/2014/main" val="3215305521"/>
                    </a:ext>
                  </a:extLst>
                </a:gridCol>
                <a:gridCol w="1145933">
                  <a:extLst>
                    <a:ext uri="{9D8B030D-6E8A-4147-A177-3AD203B41FA5}">
                      <a16:colId xmlns:a16="http://schemas.microsoft.com/office/drawing/2014/main" val="1920062309"/>
                    </a:ext>
                  </a:extLst>
                </a:gridCol>
                <a:gridCol w="1145933">
                  <a:extLst>
                    <a:ext uri="{9D8B030D-6E8A-4147-A177-3AD203B41FA5}">
                      <a16:colId xmlns:a16="http://schemas.microsoft.com/office/drawing/2014/main" val="1027750631"/>
                    </a:ext>
                  </a:extLst>
                </a:gridCol>
              </a:tblGrid>
              <a:tr h="362339">
                <a:tc gridSpan="2">
                  <a:txBody>
                    <a:bodyPr/>
                    <a:lstStyle/>
                    <a:p>
                      <a:pPr algn="r">
                        <a:lnSpc>
                          <a:spcPts val="1015"/>
                        </a:lnSpc>
                      </a:pPr>
                      <a:r>
                        <a:rPr lang="en-US" sz="1200" b="1" spc="-40" dirty="0">
                          <a:latin typeface="Slate Pro" panose="02000506040000020004" pitchFamily="2" charset="0"/>
                          <a:cs typeface="Arial"/>
                          <a:sym typeface="Slate Pro" panose="02000506040000020004" pitchFamily="2" charset="0"/>
                        </a:rPr>
                        <a:t>Tier</a:t>
                      </a:r>
                      <a:endParaRPr sz="1200" b="1" dirty="0">
                        <a:latin typeface="Slate Pro" panose="02000506040000020004" pitchFamily="2" charset="0"/>
                        <a:cs typeface="Arial"/>
                        <a:sym typeface="Slate Pro" panose="02000506040000020004" pitchFamily="2" charset="0"/>
                      </a:endParaRPr>
                    </a:p>
                  </a:txBody>
                  <a:tcPr marL="0" marT="0" marB="0" anchor="ctr">
                    <a:lnL>
                      <a:noFill/>
                    </a:lnL>
                    <a:lnR w="12700" cap="flat" cmpd="sng" algn="ctr">
                      <a:solidFill>
                        <a:schemeClr val="tx1"/>
                      </a:solidFill>
                      <a:prstDash val="solid"/>
                      <a:round/>
                      <a:headEnd type="none" w="med" len="med"/>
                      <a:tailEnd type="none" w="med" len="med"/>
                    </a:lnR>
                    <a:lnT>
                      <a:noFill/>
                    </a:lnT>
                    <a:lnB w="28575">
                      <a:noFill/>
                      <a:prstDash val="solid"/>
                    </a:lnB>
                    <a:lnTlToBr w="12700" cmpd="sng">
                      <a:noFill/>
                      <a:prstDash val="solid"/>
                    </a:lnTlToBr>
                    <a:lnBlToTr w="12700" cmpd="sng">
                      <a:noFill/>
                      <a:prstDash val="solid"/>
                    </a:lnBlToT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marL="0" marR="0" lvl="0" indent="0" algn="ctr" defTabSz="914400" eaLnBrk="1" fontAlgn="auto" latinLnBrk="0" hangingPunct="1">
                        <a:lnSpc>
                          <a:spcPts val="1015"/>
                        </a:lnSpc>
                        <a:spcBef>
                          <a:spcPts val="0"/>
                        </a:spcBef>
                        <a:spcAft>
                          <a:spcPts val="0"/>
                        </a:spcAft>
                        <a:buClrTx/>
                        <a:buSzTx/>
                        <a:buFontTx/>
                        <a:buNone/>
                        <a:tabLst/>
                        <a:defRPr/>
                      </a:pPr>
                      <a:r>
                        <a:rPr lang="en-US" sz="1200" b="1" dirty="0">
                          <a:solidFill>
                            <a:schemeClr val="bg1"/>
                          </a:solidFill>
                          <a:latin typeface="Slate Pro" panose="02000506040000020004" pitchFamily="2" charset="0"/>
                          <a:cs typeface="Arial"/>
                          <a:sym typeface="Slate Pro" panose="02000506040000020004" pitchFamily="2" charset="0"/>
                        </a:rPr>
                        <a:t>Silve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FABAB"/>
                    </a:solidFill>
                  </a:tcPr>
                </a:tc>
                <a:tc hMerge="1">
                  <a:txBody>
                    <a:bodyPr/>
                    <a:lstStyle/>
                    <a:p>
                      <a:pPr algn="r">
                        <a:lnSpc>
                          <a:spcPts val="1015"/>
                        </a:lnSpc>
                      </a:pPr>
                      <a:endParaRPr sz="1400" b="1" dirty="0">
                        <a:latin typeface="Proxima Nova Rg" panose="02000506030000020004" pitchFamily="50" charset="0"/>
                        <a:cs typeface="Arial"/>
                      </a:endParaRPr>
                    </a:p>
                  </a:txBody>
                  <a:tcPr marL="0" marT="0" marB="0" anchor="ctr">
                    <a:lnL>
                      <a:noFill/>
                    </a:lnL>
                    <a:lnR w="9525" cap="flat" cmpd="sng" algn="ctr">
                      <a:noFill/>
                      <a:prstDash val="solid"/>
                      <a:round/>
                      <a:headEnd type="none" w="med" len="med"/>
                      <a:tailEnd type="none" w="med" len="med"/>
                    </a:lnR>
                    <a:lnT>
                      <a:noFill/>
                    </a:lnT>
                    <a:lnB w="28575">
                      <a:noFill/>
                      <a:prstDash val="solid"/>
                    </a:lnB>
                    <a:lnTlToBr w="12700" cmpd="sng">
                      <a:noFill/>
                      <a:prstDash val="solid"/>
                    </a:lnTlToBr>
                    <a:lnBlToTr w="12700" cmpd="sng">
                      <a:noFill/>
                      <a:prstDash val="solid"/>
                    </a:lnBlToTr>
                  </a:tcPr>
                </a:tc>
                <a:tc gridSpan="2">
                  <a:txBody>
                    <a:bodyPr/>
                    <a:lstStyle/>
                    <a:p>
                      <a:pPr marL="0" marR="0" lvl="0" indent="0" algn="ctr" defTabSz="914400" eaLnBrk="1" fontAlgn="auto" latinLnBrk="0" hangingPunct="1">
                        <a:lnSpc>
                          <a:spcPts val="1015"/>
                        </a:lnSpc>
                        <a:spcBef>
                          <a:spcPts val="0"/>
                        </a:spcBef>
                        <a:spcAft>
                          <a:spcPts val="0"/>
                        </a:spcAft>
                        <a:buClrTx/>
                        <a:buSzTx/>
                        <a:buFontTx/>
                        <a:buNone/>
                        <a:tabLst/>
                        <a:defRPr/>
                      </a:pPr>
                      <a:r>
                        <a:rPr lang="en-US" sz="1200" b="1" spc="-20" dirty="0">
                          <a:solidFill>
                            <a:schemeClr val="bg1"/>
                          </a:solidFill>
                          <a:latin typeface="Slate Pro" panose="02000506040000020004" pitchFamily="2" charset="0"/>
                          <a:cs typeface="Arial"/>
                          <a:sym typeface="Slate Pro" panose="02000506040000020004" pitchFamily="2" charset="0"/>
                        </a:rPr>
                        <a:t>Gold</a:t>
                      </a:r>
                      <a:endParaRPr lang="en-US" sz="1200" dirty="0">
                        <a:solidFill>
                          <a:schemeClr val="bg1"/>
                        </a:solidFill>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B737"/>
                    </a:solidFill>
                  </a:tcPr>
                </a:tc>
                <a:tc hMerge="1">
                  <a:txBody>
                    <a:bodyPr/>
                    <a:lstStyle/>
                    <a:p>
                      <a:pPr algn="r">
                        <a:lnSpc>
                          <a:spcPts val="1015"/>
                        </a:lnSpc>
                      </a:pPr>
                      <a:endParaRPr sz="1400" b="1" dirty="0">
                        <a:latin typeface="Proxima Nova Rg" panose="02000506030000020004" pitchFamily="50" charset="0"/>
                        <a:cs typeface="Arial"/>
                      </a:endParaRPr>
                    </a:p>
                  </a:txBody>
                  <a:tcPr marL="0" marT="0" marB="0" anchor="ctr">
                    <a:lnL>
                      <a:noFill/>
                    </a:lnL>
                    <a:lnR w="9525" cap="flat" cmpd="sng" algn="ctr">
                      <a:noFill/>
                      <a:prstDash val="solid"/>
                      <a:round/>
                      <a:headEnd type="none" w="med" len="med"/>
                      <a:tailEnd type="none" w="med" len="med"/>
                    </a:lnR>
                    <a:lnT>
                      <a:noFill/>
                    </a:lnT>
                    <a:lnB w="28575">
                      <a:noFill/>
                      <a:prstDash val="solid"/>
                    </a:lnB>
                    <a:lnTlToBr w="12700" cmpd="sng">
                      <a:noFill/>
                      <a:prstDash val="solid"/>
                    </a:lnTlToBr>
                    <a:lnBlToTr w="12700" cmpd="sng">
                      <a:noFill/>
                      <a:prstDash val="solid"/>
                    </a:lnBlToTr>
                  </a:tcPr>
                </a:tc>
                <a:tc gridSpan="2">
                  <a:txBody>
                    <a:bodyPr/>
                    <a:lstStyle/>
                    <a:p>
                      <a:pPr algn="ctr">
                        <a:lnSpc>
                          <a:spcPts val="1015"/>
                        </a:lnSpc>
                      </a:pPr>
                      <a:r>
                        <a:rPr lang="en-US" sz="1200" b="1" dirty="0">
                          <a:solidFill>
                            <a:schemeClr val="tx1"/>
                          </a:solidFill>
                          <a:latin typeface="Slate Pro" panose="02000506040000020004" pitchFamily="2" charset="0"/>
                          <a:cs typeface="Arial"/>
                          <a:sym typeface="Slate Pro" panose="02000506040000020004" pitchFamily="2" charset="0"/>
                        </a:rPr>
                        <a:t>Platinum</a:t>
                      </a:r>
                      <a:endParaRPr sz="1200" b="1" dirty="0">
                        <a:solidFill>
                          <a:schemeClr val="tx1"/>
                        </a:solidFill>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lnSpc>
                          <a:spcPts val="1015"/>
                        </a:lnSpc>
                      </a:pPr>
                      <a:endParaRPr sz="1400" b="1" dirty="0">
                        <a:latin typeface="Proxima Nova Rg" panose="02000506030000020004" pitchFamily="50" charset="0"/>
                        <a:cs typeface="Arial"/>
                      </a:endParaRPr>
                    </a:p>
                  </a:txBody>
                  <a:tcPr marL="0" marT="0" marB="0" anchor="ctr">
                    <a:lnL>
                      <a:noFill/>
                    </a:lnL>
                    <a:lnR w="9525" cap="flat" cmpd="sng" algn="ctr">
                      <a:solidFill>
                        <a:schemeClr val="bg1">
                          <a:lumMod val="75000"/>
                        </a:schemeClr>
                      </a:solidFill>
                      <a:prstDash val="solid"/>
                      <a:round/>
                      <a:headEnd type="none" w="med" len="med"/>
                      <a:tailEnd type="none" w="med" len="med"/>
                    </a:lnR>
                    <a:lnT>
                      <a:noFill/>
                    </a:lnT>
                    <a:lnB w="28575">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90602">
                <a:tc gridSpan="2">
                  <a:txBody>
                    <a:bodyPr/>
                    <a:lstStyle/>
                    <a:p>
                      <a:pPr marL="71755" algn="r">
                        <a:lnSpc>
                          <a:spcPct val="100000"/>
                        </a:lnSpc>
                        <a:spcBef>
                          <a:spcPts val="680"/>
                        </a:spcBef>
                      </a:pPr>
                      <a:r>
                        <a:rPr lang="en-US" sz="1200" b="1" spc="-25">
                          <a:latin typeface="Slate Pro" panose="02000506040000020004" pitchFamily="2" charset="0"/>
                          <a:cs typeface="Arial"/>
                          <a:sym typeface="Slate Pro" panose="02000506040000020004" pitchFamily="2" charset="0"/>
                        </a:rPr>
                        <a:t>Market</a:t>
                      </a:r>
                      <a:endParaRPr sz="1200" b="1">
                        <a:latin typeface="Slate Pro" panose="02000506040000020004" pitchFamily="2" charset="0"/>
                        <a:cs typeface="Arial"/>
                        <a:sym typeface="Slate Pro" panose="02000506040000020004" pitchFamily="2" charset="0"/>
                      </a:endParaRPr>
                    </a:p>
                  </a:txBody>
                  <a:tcPr marL="0" marT="0" marB="0" anchor="ctr">
                    <a:lnL>
                      <a:noFill/>
                    </a:lnL>
                    <a:lnR w="12700" cap="flat" cmpd="sng" algn="ctr">
                      <a:solidFill>
                        <a:schemeClr val="tx1"/>
                      </a:solidFill>
                      <a:prstDash val="solid"/>
                      <a:round/>
                      <a:headEnd type="none" w="med" len="med"/>
                      <a:tailEnd type="none" w="med" len="med"/>
                    </a:lnR>
                    <a:lnT w="28575">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marL="71755" algn="ctr">
                        <a:lnSpc>
                          <a:spcPct val="100000"/>
                        </a:lnSpc>
                        <a:spcBef>
                          <a:spcPts val="680"/>
                        </a:spcBef>
                      </a:pPr>
                      <a:r>
                        <a:rPr lang="en-US" sz="1200" b="1" dirty="0">
                          <a:latin typeface="Slate Pro" panose="02000506040000020004" pitchFamily="2" charset="0"/>
                          <a:cs typeface="Arial"/>
                          <a:sym typeface="Slate Pro" panose="02000506040000020004" pitchFamily="2" charset="0"/>
                        </a:rPr>
                        <a:t>Small</a:t>
                      </a:r>
                      <a:endParaRPr sz="1200" b="1" dirty="0">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1755" algn="ctr">
                        <a:lnSpc>
                          <a:spcPct val="100000"/>
                        </a:lnSpc>
                        <a:spcBef>
                          <a:spcPts val="680"/>
                        </a:spcBef>
                      </a:pPr>
                      <a:r>
                        <a:rPr lang="en-US" sz="1200" b="1" dirty="0">
                          <a:latin typeface="Slate Pro" panose="02000506040000020004" pitchFamily="2" charset="0"/>
                          <a:cs typeface="Arial"/>
                          <a:sym typeface="Slate Pro" panose="02000506040000020004" pitchFamily="2" charset="0"/>
                        </a:rPr>
                        <a:t>Large</a:t>
                      </a:r>
                      <a:endParaRPr sz="1200" b="1" dirty="0">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1755" algn="ctr">
                        <a:lnSpc>
                          <a:spcPct val="100000"/>
                        </a:lnSpc>
                        <a:spcBef>
                          <a:spcPts val="680"/>
                        </a:spcBef>
                      </a:pPr>
                      <a:r>
                        <a:rPr lang="en-US" sz="1200" b="1" dirty="0">
                          <a:latin typeface="Slate Pro" panose="02000506040000020004" pitchFamily="2" charset="0"/>
                          <a:cs typeface="Arial"/>
                          <a:sym typeface="Slate Pro" panose="02000506040000020004" pitchFamily="2" charset="0"/>
                        </a:rPr>
                        <a:t>Small</a:t>
                      </a:r>
                      <a:endParaRPr sz="1200" b="1" dirty="0">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1755" algn="ctr">
                        <a:lnSpc>
                          <a:spcPct val="100000"/>
                        </a:lnSpc>
                        <a:spcBef>
                          <a:spcPts val="680"/>
                        </a:spcBef>
                      </a:pPr>
                      <a:r>
                        <a:rPr lang="en-US" sz="1200" b="1" dirty="0">
                          <a:latin typeface="Slate Pro" panose="02000506040000020004" pitchFamily="2" charset="0"/>
                          <a:cs typeface="Arial"/>
                          <a:sym typeface="Slate Pro" panose="02000506040000020004" pitchFamily="2" charset="0"/>
                        </a:rPr>
                        <a:t>Large</a:t>
                      </a:r>
                      <a:endParaRPr sz="1200" b="1" dirty="0">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1755" algn="ctr">
                        <a:lnSpc>
                          <a:spcPct val="100000"/>
                        </a:lnSpc>
                        <a:spcBef>
                          <a:spcPts val="680"/>
                        </a:spcBef>
                      </a:pPr>
                      <a:r>
                        <a:rPr lang="en-US" sz="1200" b="1" dirty="0">
                          <a:latin typeface="Slate Pro" panose="02000506040000020004" pitchFamily="2" charset="0"/>
                          <a:cs typeface="Arial"/>
                          <a:sym typeface="Slate Pro" panose="02000506040000020004" pitchFamily="2" charset="0"/>
                        </a:rPr>
                        <a:t>Small</a:t>
                      </a:r>
                      <a:endParaRPr sz="1200" b="1" dirty="0">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1755" algn="ctr">
                        <a:lnSpc>
                          <a:spcPct val="100000"/>
                        </a:lnSpc>
                        <a:spcBef>
                          <a:spcPts val="680"/>
                        </a:spcBef>
                      </a:pPr>
                      <a:r>
                        <a:rPr lang="en-US" sz="1200" b="1" dirty="0">
                          <a:latin typeface="Slate Pro" panose="02000506040000020004" pitchFamily="2" charset="0"/>
                          <a:cs typeface="Arial"/>
                          <a:sym typeface="Slate Pro" panose="02000506040000020004" pitchFamily="2" charset="0"/>
                        </a:rPr>
                        <a:t>Large</a:t>
                      </a:r>
                      <a:endParaRPr sz="1200" b="1" dirty="0">
                        <a:latin typeface="Slate Pro" panose="02000506040000020004" pitchFamily="2" charset="0"/>
                        <a:cs typeface="Arial"/>
                        <a:sym typeface="Slate Pro" panose="0200050604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37894">
                <a:tc>
                  <a:txBody>
                    <a:bodyPr/>
                    <a:lstStyle/>
                    <a:p>
                      <a:pPr marL="71438" indent="-71438" algn="ctr">
                        <a:lnSpc>
                          <a:spcPct val="100000"/>
                        </a:lnSpc>
                        <a:spcBef>
                          <a:spcPts val="635"/>
                        </a:spcBef>
                      </a:pPr>
                      <a:r>
                        <a:rPr lang="en-US" sz="1200" dirty="0">
                          <a:solidFill>
                            <a:schemeClr val="bg1"/>
                          </a:solidFill>
                          <a:latin typeface="Slate Pro" panose="02000506040000020004" pitchFamily="2" charset="0"/>
                          <a:cs typeface="Arial"/>
                          <a:sym typeface="Slate Pro" panose="02000506040000020004" pitchFamily="2" charset="0"/>
                        </a:rPr>
                        <a:t>Product / Product Family</a:t>
                      </a:r>
                      <a:endParaRPr sz="1200" dirty="0">
                        <a:solidFill>
                          <a:schemeClr val="bg1"/>
                        </a:solidFill>
                        <a:latin typeface="Slate Pro" panose="02000506040000020004" pitchFamily="2" charset="0"/>
                        <a:cs typeface="Arial"/>
                        <a:sym typeface="Slate Pro" panose="0200050604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87C6"/>
                    </a:solidFill>
                  </a:tcPr>
                </a:tc>
                <a:tc>
                  <a:txBody>
                    <a:bodyPr/>
                    <a:lstStyle/>
                    <a:p>
                      <a:pPr marL="71438" indent="-71438" algn="ctr">
                        <a:lnSpc>
                          <a:spcPct val="100000"/>
                        </a:lnSpc>
                        <a:spcBef>
                          <a:spcPts val="635"/>
                        </a:spcBef>
                      </a:pPr>
                      <a:r>
                        <a:rPr lang="en-US" sz="1200" dirty="0">
                          <a:solidFill>
                            <a:schemeClr val="bg1"/>
                          </a:solidFill>
                          <a:latin typeface="Slate Pro" panose="02000506040000020004" pitchFamily="2" charset="0"/>
                          <a:cs typeface="Arial"/>
                          <a:sym typeface="Slate Pro" panose="02000506040000020004" pitchFamily="2" charset="0"/>
                        </a:rPr>
                        <a:t>Certifications</a:t>
                      </a:r>
                      <a:endParaRPr sz="1200" dirty="0">
                        <a:solidFill>
                          <a:schemeClr val="bg1"/>
                        </a:solidFill>
                        <a:latin typeface="Slate Pro" panose="02000506040000020004" pitchFamily="2" charset="0"/>
                        <a:cs typeface="Arial"/>
                        <a:sym typeface="Slate Pro" panose="0200050604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5987C6"/>
                    </a:solidFill>
                  </a:tcPr>
                </a:tc>
                <a:tc gridSpan="6">
                  <a:txBody>
                    <a:bodyPr/>
                    <a:lstStyle/>
                    <a:p>
                      <a:pPr marL="71438" indent="-71438" algn="ctr">
                        <a:lnSpc>
                          <a:spcPct val="100000"/>
                        </a:lnSpc>
                        <a:spcBef>
                          <a:spcPts val="635"/>
                        </a:spcBef>
                      </a:pPr>
                      <a:r>
                        <a:rPr lang="en-US" sz="1200" dirty="0">
                          <a:solidFill>
                            <a:schemeClr val="bg1"/>
                          </a:solidFill>
                          <a:latin typeface="Slate Pro" panose="02000506040000020004" pitchFamily="2" charset="0"/>
                          <a:cs typeface="Arial"/>
                          <a:sym typeface="Slate Pro" panose="02000506040000020004" pitchFamily="2" charset="0"/>
                        </a:rPr>
                        <a:t>Percentage of Workforce to be Certified</a:t>
                      </a:r>
                      <a:endParaRPr sz="1200" dirty="0">
                        <a:solidFill>
                          <a:schemeClr val="bg1"/>
                        </a:solidFill>
                        <a:latin typeface="Slate Pro" panose="02000506040000020004" pitchFamily="2" charset="0"/>
                        <a:cs typeface="Arial"/>
                        <a:sym typeface="Slate Pro" panose="0200050604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87C6"/>
                    </a:solidFill>
                  </a:tcPr>
                </a:tc>
                <a:tc hMerge="1">
                  <a:txBody>
                    <a:bodyPr/>
                    <a:lstStyle/>
                    <a:p>
                      <a:pPr marL="71438" indent="-71438" algn="ctr">
                        <a:lnSpc>
                          <a:spcPct val="100000"/>
                        </a:lnSpc>
                        <a:spcBef>
                          <a:spcPts val="635"/>
                        </a:spcBef>
                      </a:pPr>
                      <a:endParaRPr sz="1400" dirty="0">
                        <a:solidFill>
                          <a:schemeClr val="bg1"/>
                        </a:solidFill>
                        <a:latin typeface="Proxima Nova Rg" panose="02000506030000020004" pitchFamily="50" charset="0"/>
                        <a:cs typeface="Arial"/>
                      </a:endParaRPr>
                    </a:p>
                  </a:txBody>
                  <a:tcPr marL="0" marR="0" marT="0" marB="0" anchor="ctr">
                    <a:lnT w="6350">
                      <a:noFill/>
                      <a:prstDash val="solid"/>
                    </a:lnT>
                    <a:lnB w="6350" cap="flat" cmpd="sng" algn="ctr">
                      <a:solidFill>
                        <a:srgbClr val="868A8C"/>
                      </a:solidFill>
                      <a:prstDash val="solid"/>
                      <a:round/>
                      <a:headEnd type="none" w="med" len="med"/>
                      <a:tailEnd type="none" w="med" len="med"/>
                    </a:lnB>
                    <a:solidFill>
                      <a:srgbClr val="5987C6"/>
                    </a:solidFill>
                  </a:tcPr>
                </a:tc>
                <a:tc hMerge="1">
                  <a:txBody>
                    <a:bodyPr/>
                    <a:lstStyle/>
                    <a:p>
                      <a:pPr marL="71438" indent="-71438" algn="ctr">
                        <a:lnSpc>
                          <a:spcPct val="100000"/>
                        </a:lnSpc>
                        <a:spcBef>
                          <a:spcPts val="635"/>
                        </a:spcBef>
                      </a:pPr>
                      <a:endParaRPr sz="1400" dirty="0">
                        <a:solidFill>
                          <a:schemeClr val="bg1"/>
                        </a:solidFill>
                        <a:latin typeface="Proxima Nova Rg" panose="02000506030000020004" pitchFamily="50" charset="0"/>
                        <a:cs typeface="Arial"/>
                      </a:endParaRPr>
                    </a:p>
                  </a:txBody>
                  <a:tcPr marL="0" marR="0" marT="0" marB="0" anchor="ctr">
                    <a:lnT w="6350">
                      <a:noFill/>
                      <a:prstDash val="solid"/>
                    </a:lnT>
                    <a:lnB w="6350" cap="flat" cmpd="sng" algn="ctr">
                      <a:solidFill>
                        <a:srgbClr val="868A8C"/>
                      </a:solidFill>
                      <a:prstDash val="solid"/>
                      <a:round/>
                      <a:headEnd type="none" w="med" len="med"/>
                      <a:tailEnd type="none" w="med" len="med"/>
                    </a:lnB>
                    <a:solidFill>
                      <a:srgbClr val="5987C6"/>
                    </a:solidFill>
                  </a:tcPr>
                </a:tc>
                <a:tc hMerge="1">
                  <a:txBody>
                    <a:bodyPr/>
                    <a:lstStyle/>
                    <a:p>
                      <a:pPr marL="71438" indent="-71438" algn="ctr">
                        <a:lnSpc>
                          <a:spcPct val="100000"/>
                        </a:lnSpc>
                        <a:spcBef>
                          <a:spcPts val="635"/>
                        </a:spcBef>
                      </a:pPr>
                      <a:endParaRPr sz="1400" dirty="0">
                        <a:solidFill>
                          <a:schemeClr val="bg1"/>
                        </a:solidFill>
                        <a:latin typeface="Proxima Nova Rg" panose="02000506030000020004" pitchFamily="50" charset="0"/>
                        <a:cs typeface="Arial"/>
                      </a:endParaRPr>
                    </a:p>
                  </a:txBody>
                  <a:tcPr marL="0" marR="0" marT="0" marB="0" anchor="ctr">
                    <a:lnT w="6350">
                      <a:noFill/>
                      <a:prstDash val="solid"/>
                    </a:lnT>
                    <a:lnB w="6350" cap="flat" cmpd="sng" algn="ctr">
                      <a:solidFill>
                        <a:srgbClr val="868A8C"/>
                      </a:solidFill>
                      <a:prstDash val="solid"/>
                      <a:round/>
                      <a:headEnd type="none" w="med" len="med"/>
                      <a:tailEnd type="none" w="med" len="med"/>
                    </a:lnB>
                    <a:solidFill>
                      <a:srgbClr val="5987C6"/>
                    </a:solidFill>
                  </a:tcPr>
                </a:tc>
                <a:tc hMerge="1">
                  <a:txBody>
                    <a:bodyPr/>
                    <a:lstStyle/>
                    <a:p>
                      <a:pPr marL="71438" indent="-71438" algn="ctr">
                        <a:lnSpc>
                          <a:spcPct val="100000"/>
                        </a:lnSpc>
                        <a:spcBef>
                          <a:spcPts val="635"/>
                        </a:spcBef>
                      </a:pPr>
                      <a:endParaRPr sz="1400" dirty="0">
                        <a:solidFill>
                          <a:schemeClr val="bg1"/>
                        </a:solidFill>
                        <a:latin typeface="Proxima Nova Rg" panose="02000506030000020004" pitchFamily="50" charset="0"/>
                        <a:cs typeface="Arial"/>
                      </a:endParaRPr>
                    </a:p>
                  </a:txBody>
                  <a:tcPr marL="0" marR="0" marT="0" marB="0" anchor="ctr">
                    <a:lnT w="6350">
                      <a:noFill/>
                      <a:prstDash val="solid"/>
                    </a:lnT>
                    <a:lnB w="6350" cap="flat" cmpd="sng" algn="ctr">
                      <a:solidFill>
                        <a:srgbClr val="868A8C"/>
                      </a:solidFill>
                      <a:prstDash val="solid"/>
                      <a:round/>
                      <a:headEnd type="none" w="med" len="med"/>
                      <a:tailEnd type="none" w="med" len="med"/>
                    </a:lnB>
                    <a:solidFill>
                      <a:srgbClr val="5987C6"/>
                    </a:solidFill>
                  </a:tcPr>
                </a:tc>
                <a:tc hMerge="1">
                  <a:txBody>
                    <a:bodyPr/>
                    <a:lstStyle/>
                    <a:p>
                      <a:pPr marL="71438" indent="-71438" algn="ctr">
                        <a:lnSpc>
                          <a:spcPct val="100000"/>
                        </a:lnSpc>
                        <a:spcBef>
                          <a:spcPts val="635"/>
                        </a:spcBef>
                      </a:pPr>
                      <a:endParaRPr sz="1400" dirty="0">
                        <a:solidFill>
                          <a:schemeClr val="bg1"/>
                        </a:solidFill>
                        <a:latin typeface="Proxima Nova Rg" panose="02000506030000020004" pitchFamily="50" charset="0"/>
                        <a:cs typeface="Arial"/>
                      </a:endParaRPr>
                    </a:p>
                  </a:txBody>
                  <a:tcPr marL="0" marR="0" marT="0" marB="0" anchor="ctr">
                    <a:lnR w="9525" cap="flat" cmpd="sng" algn="ctr">
                      <a:solidFill>
                        <a:schemeClr val="bg1">
                          <a:lumMod val="75000"/>
                        </a:schemeClr>
                      </a:solidFill>
                      <a:prstDash val="solid"/>
                      <a:round/>
                      <a:headEnd type="none" w="med" len="med"/>
                      <a:tailEnd type="none" w="med" len="med"/>
                    </a:lnR>
                    <a:lnT w="6350">
                      <a:noFill/>
                      <a:prstDash val="solid"/>
                    </a:lnT>
                    <a:lnB w="6350" cap="flat" cmpd="sng" algn="ctr">
                      <a:solidFill>
                        <a:srgbClr val="868A8C"/>
                      </a:solidFill>
                      <a:prstDash val="solid"/>
                      <a:round/>
                      <a:headEnd type="none" w="med" len="med"/>
                      <a:tailEnd type="none" w="med" len="med"/>
                    </a:lnB>
                    <a:solidFill>
                      <a:srgbClr val="5987C6"/>
                    </a:solidFill>
                  </a:tcPr>
                </a:tc>
                <a:extLst>
                  <a:ext uri="{0D108BD9-81ED-4DB2-BD59-A6C34878D82A}">
                    <a16:rowId xmlns:a16="http://schemas.microsoft.com/office/drawing/2014/main" val="10002"/>
                  </a:ext>
                </a:extLst>
              </a:tr>
              <a:tr h="308947">
                <a:tc rowSpan="4">
                  <a:txBody>
                    <a:bodyPr/>
                    <a:lstStyle/>
                    <a:p>
                      <a:pPr algn="ctr" fontAlgn="b"/>
                      <a:r>
                        <a:rPr lang="en-US" sz="900" b="0" i="0" u="none" strike="noStrike" dirty="0">
                          <a:solidFill>
                            <a:srgbClr val="000000"/>
                          </a:solidFill>
                          <a:effectLst/>
                          <a:latin typeface="Slate Pro" panose="02000506040000020004" pitchFamily="2" charset="0"/>
                          <a:sym typeface="Slate Pro" panose="02000506040000020004" pitchFamily="2" charset="0"/>
                        </a:rPr>
                        <a:t>Product A</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b="0" i="0" u="none" strike="noStrike">
                          <a:solidFill>
                            <a:srgbClr val="000000"/>
                          </a:solidFill>
                          <a:effectLst/>
                          <a:latin typeface="Slate Pro" panose="02000506040000020004" pitchFamily="2" charset="0"/>
                          <a:sym typeface="Slate Pro" panose="02000506040000020004" pitchFamily="2" charset="0"/>
                        </a:rPr>
                        <a:t>Product A  - Financial</a:t>
                      </a:r>
                      <a:endParaRPr lang="en-US">
                        <a:latin typeface="Slate Pro" panose="02000506040000020004" pitchFamily="2" charset="0"/>
                        <a:sym typeface="Slate Pro" panose="02000506040000020004" pitchFamily="2" charset="0"/>
                      </a:endParaRPr>
                    </a:p>
                  </a:txBody>
                  <a:tcPr marL="45720" marR="4572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sym typeface="Slate Pro" panose="02000506040000020004" pitchFamily="2" charset="0"/>
                        </a:rPr>
                        <a:t>4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sym typeface="Slate Pro" panose="02000506040000020004" pitchFamily="2" charset="0"/>
                        </a:rPr>
                        <a:t>5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gridSpan="2">
                  <a:txBody>
                    <a:bodyPr/>
                    <a:lstStyle/>
                    <a:p>
                      <a:pPr algn="ctr" fontAlgn="b"/>
                      <a:r>
                        <a:rPr lang="en-US" sz="900" b="0" i="0" u="none" strike="noStrike" dirty="0">
                          <a:solidFill>
                            <a:srgbClr val="000000"/>
                          </a:solidFill>
                          <a:effectLst/>
                          <a:latin typeface="Slate Pro" panose="02000506040000020004" pitchFamily="2" charset="0"/>
                          <a:sym typeface="Slate Pro" panose="02000506040000020004" pitchFamily="2" charset="0"/>
                        </a:rPr>
                        <a:t>7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h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rowSpan="4"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dirty="0">
                          <a:solidFill>
                            <a:srgbClr val="000000"/>
                          </a:solidFill>
                          <a:effectLst/>
                          <a:latin typeface="Slate Pro" panose="02000506040000020004" pitchFamily="2" charset="0"/>
                          <a:sym typeface="Slate Pro" panose="02000506040000020004" pitchFamily="2" charset="0"/>
                        </a:rPr>
                        <a:t>9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h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10003"/>
                  </a:ext>
                </a:extLst>
              </a:tr>
              <a:tr h="462391">
                <a:tc vMerge="1">
                  <a:txBody>
                    <a:bodyPr/>
                    <a:lstStyle/>
                    <a:p>
                      <a:pPr algn="ctr" fontAlgn="b"/>
                      <a:endParaRPr lang="en-US" sz="1000" b="0" i="0" u="none" strike="noStrike" dirty="0">
                        <a:solidFill>
                          <a:srgbClr val="000000"/>
                        </a:solidFill>
                        <a:effectLst/>
                        <a:latin typeface="Proxima Nova Rg" panose="02000506030000020004" pitchFamily="50" charset="0"/>
                      </a:endParaRPr>
                    </a:p>
                  </a:txBody>
                  <a:tcPr marL="3175" marR="3175" marT="3175" marB="0" anchor="ctr">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r>
                        <a:rPr lang="en-US" sz="900" b="0" i="0" u="none" strike="noStrike">
                          <a:solidFill>
                            <a:srgbClr val="000000"/>
                          </a:solidFill>
                          <a:effectLst/>
                          <a:latin typeface="Slate Pro" panose="02000506040000020004" pitchFamily="2" charset="0"/>
                          <a:sym typeface="Slate Pro" panose="02000506040000020004" pitchFamily="2" charset="0"/>
                        </a:rPr>
                        <a:t>Product A  - Manufacturing</a:t>
                      </a:r>
                      <a:endParaRPr lang="en-US">
                        <a:latin typeface="Slate Pro" panose="02000506040000020004" pitchFamily="2" charset="0"/>
                        <a:sym typeface="Slate Pro" panose="02000506040000020004" pitchFamily="2" charset="0"/>
                      </a:endParaRPr>
                    </a:p>
                  </a:txBody>
                  <a:tcPr marL="45720" marR="4572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gridSpan="2"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gridSpan="2"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2790368788"/>
                  </a:ext>
                </a:extLst>
              </a:tr>
              <a:tr h="437300">
                <a:tc vMerge="1">
                  <a:txBody>
                    <a:bodyPr/>
                    <a:lstStyle/>
                    <a:p>
                      <a:pPr algn="ctr" fontAlgn="b"/>
                      <a:endParaRPr lang="en-US" sz="1000" b="0" i="0" u="none" strike="noStrike" dirty="0">
                        <a:solidFill>
                          <a:srgbClr val="000000"/>
                        </a:solidFill>
                        <a:effectLst/>
                        <a:latin typeface="Proxima Nova Rg" panose="02000506030000020004" pitchFamily="50" charset="0"/>
                      </a:endParaRPr>
                    </a:p>
                  </a:txBody>
                  <a:tcPr marL="3175" marR="3175" marT="3175" marB="0" anchor="ctr">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a:txBody>
                    <a:bodyPr/>
                    <a:lstStyle/>
                    <a:p>
                      <a:r>
                        <a:rPr lang="en-US" sz="900" b="0" i="0" u="none" strike="noStrike">
                          <a:solidFill>
                            <a:srgbClr val="000000"/>
                          </a:solidFill>
                          <a:effectLst/>
                          <a:latin typeface="Slate Pro" panose="02000506040000020004" pitchFamily="2" charset="0"/>
                          <a:sym typeface="Slate Pro" panose="02000506040000020004" pitchFamily="2" charset="0"/>
                        </a:rPr>
                        <a:t>Product A  - Distribution</a:t>
                      </a:r>
                      <a:endParaRPr lang="en-US">
                        <a:latin typeface="Slate Pro" panose="02000506040000020004" pitchFamily="2" charset="0"/>
                        <a:sym typeface="Slate Pro" panose="02000506040000020004" pitchFamily="2" charset="0"/>
                      </a:endParaRPr>
                    </a:p>
                  </a:txBody>
                  <a:tcPr marL="45720" marR="4572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gridSpan="2"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gridSpan="2"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4128761861"/>
                  </a:ext>
                </a:extLst>
              </a:tr>
              <a:tr h="462391">
                <a:tc vMerge="1">
                  <a:txBody>
                    <a:bodyPr/>
                    <a:lstStyle/>
                    <a:p>
                      <a:pPr algn="ctr" fontAlgn="b"/>
                      <a:endParaRPr lang="en-US" sz="1000" b="0" i="0" u="none" strike="noStrike" dirty="0">
                        <a:solidFill>
                          <a:srgbClr val="000000"/>
                        </a:solidFill>
                        <a:effectLst/>
                        <a:latin typeface="Proxima Nova Rg" panose="02000506030000020004" pitchFamily="50" charset="0"/>
                      </a:endParaRPr>
                    </a:p>
                  </a:txBody>
                  <a:tcPr marL="3175" marR="3175" marT="3175" marB="0" anchor="ctr">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a:solidFill>
                        <a:srgbClr val="868A8C"/>
                      </a:solidFill>
                      <a:prstDash val="solid"/>
                    </a:lnB>
                  </a:tcPr>
                </a:tc>
                <a:tc>
                  <a:txBody>
                    <a:bodyPr/>
                    <a:lstStyle/>
                    <a:p>
                      <a:r>
                        <a:rPr lang="en-US" sz="900" b="0" i="0" u="none" strike="noStrike">
                          <a:solidFill>
                            <a:srgbClr val="000000"/>
                          </a:solidFill>
                          <a:effectLst/>
                          <a:latin typeface="Slate Pro" panose="02000506040000020004" pitchFamily="2" charset="0"/>
                          <a:sym typeface="Slate Pro" panose="02000506040000020004" pitchFamily="2" charset="0"/>
                        </a:rPr>
                        <a:t>Implementation</a:t>
                      </a:r>
                      <a:endParaRPr lang="en-US">
                        <a:latin typeface="Slate Pro" panose="02000506040000020004" pitchFamily="2" charset="0"/>
                        <a:sym typeface="Slate Pro" panose="02000506040000020004" pitchFamily="2" charset="0"/>
                      </a:endParaRPr>
                    </a:p>
                  </a:txBody>
                  <a:tcPr marL="45720" marR="4572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12700"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gridSpan="2"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gridSpan="2"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tc hMerge="1" vMerge="1">
                  <a:txBody>
                    <a:bodyPr/>
                    <a:lstStyle/>
                    <a:p>
                      <a:pPr algn="l" fontAlgn="b"/>
                      <a:endParaRPr lang="en-US" sz="1100" b="0" i="0" u="none" strike="noStrike" dirty="0">
                        <a:solidFill>
                          <a:srgbClr val="000000"/>
                        </a:solidFill>
                        <a:effectLst/>
                        <a:latin typeface="Proxima Nova Rg" panose="02000506030000020004" pitchFamily="50"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rgbClr val="868A8C"/>
                      </a:solidFill>
                      <a:prstDash val="solid"/>
                      <a:round/>
                      <a:headEnd type="none" w="med" len="med"/>
                      <a:tailEnd type="none" w="med" len="med"/>
                    </a:lnT>
                    <a:lnB w="6350" cap="flat" cmpd="sng" algn="ctr">
                      <a:solidFill>
                        <a:srgbClr val="868A8C"/>
                      </a:solidFill>
                      <a:prstDash val="solid"/>
                      <a:round/>
                      <a:headEnd type="none" w="med" len="med"/>
                      <a:tailEnd type="none" w="med" len="med"/>
                    </a:lnB>
                  </a:tcPr>
                </a:tc>
                <a:extLst>
                  <a:ext uri="{0D108BD9-81ED-4DB2-BD59-A6C34878D82A}">
                    <a16:rowId xmlns:a16="http://schemas.microsoft.com/office/drawing/2014/main" val="3672621376"/>
                  </a:ext>
                </a:extLst>
              </a:tr>
              <a:tr h="308260">
                <a:tc>
                  <a:txBody>
                    <a:bodyPr/>
                    <a:lstStyle/>
                    <a:p>
                      <a:pPr algn="ctr" rtl="0" fontAlgn="b"/>
                      <a:r>
                        <a:rPr lang="en-US" sz="1000" dirty="0">
                          <a:effectLst/>
                          <a:latin typeface="Slate Pro" panose="02000506040000020004" pitchFamily="2" charset="0"/>
                          <a:sym typeface="Slate Pro" panose="02000506040000020004" pitchFamily="2" charset="0"/>
                        </a:rPr>
                        <a:t>Product B</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a:effectLst/>
                          <a:latin typeface="Slate Pro" panose="02000506040000020004" pitchFamily="2" charset="0"/>
                          <a:sym typeface="Slate Pro" panose="02000506040000020004" pitchFamily="2" charset="0"/>
                        </a:rPr>
                        <a:t>Product B</a:t>
                      </a:r>
                      <a:endParaRPr lang="en-US">
                        <a:latin typeface="Slate Pro" panose="02000506040000020004" pitchFamily="2" charset="0"/>
                        <a:sym typeface="Slate Pro" panose="02000506040000020004"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ea typeface="+mn-ea"/>
                          <a:cs typeface="+mn-cs"/>
                          <a:sym typeface="Slate Pro" panose="02000506040000020004" pitchFamily="2" charset="0"/>
                        </a:rPr>
                        <a:t>4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sym typeface="Slate Pro" panose="02000506040000020004" pitchFamily="2" charset="0"/>
                        </a:rPr>
                        <a:t>5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70%</a:t>
                      </a:r>
                      <a:endPar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endParaRP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rPr>
                        <a:t>9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04664771"/>
                  </a:ext>
                </a:extLst>
              </a:tr>
              <a:tr h="308260">
                <a:tc>
                  <a:txBody>
                    <a:bodyPr/>
                    <a:lstStyle/>
                    <a:p>
                      <a:pPr algn="ctr" rtl="0" fontAlgn="b"/>
                      <a:r>
                        <a:rPr lang="en-US" sz="1000" dirty="0">
                          <a:effectLst/>
                          <a:latin typeface="Slate Pro" panose="02000506040000020004" pitchFamily="2" charset="0"/>
                          <a:sym typeface="Slate Pro" panose="02000506040000020004" pitchFamily="2" charset="0"/>
                        </a:rPr>
                        <a:t>Product C</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a:effectLst/>
                          <a:latin typeface="Slate Pro" panose="02000506040000020004" pitchFamily="2" charset="0"/>
                          <a:sym typeface="Slate Pro" panose="02000506040000020004" pitchFamily="2" charset="0"/>
                        </a:rPr>
                        <a:t>Product C</a:t>
                      </a:r>
                      <a:endParaRPr lang="en-US">
                        <a:latin typeface="Slate Pro" panose="02000506040000020004" pitchFamily="2" charset="0"/>
                        <a:sym typeface="Slate Pro" panose="02000506040000020004"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ea typeface="+mn-ea"/>
                          <a:cs typeface="+mn-cs"/>
                          <a:sym typeface="Slate Pro" panose="02000506040000020004" pitchFamily="2" charset="0"/>
                        </a:rPr>
                        <a:t>4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sym typeface="Slate Pro" panose="02000506040000020004" pitchFamily="2" charset="0"/>
                        </a:rPr>
                        <a:t>5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70%</a:t>
                      </a:r>
                      <a:endPar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endParaRP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90%</a:t>
                      </a:r>
                      <a:endPar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endParaRP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76363082"/>
                  </a:ext>
                </a:extLst>
              </a:tr>
              <a:tr h="308260">
                <a:tc rowSpan="2">
                  <a:txBody>
                    <a:bodyPr/>
                    <a:lstStyle/>
                    <a:p>
                      <a:pPr algn="ctr" rtl="0" fontAlgn="b"/>
                      <a:r>
                        <a:rPr lang="en-US" sz="1000" dirty="0">
                          <a:effectLst/>
                          <a:latin typeface="Slate Pro" panose="02000506040000020004" pitchFamily="2" charset="0"/>
                          <a:sym typeface="Slate Pro" panose="02000506040000020004" pitchFamily="2" charset="0"/>
                        </a:rPr>
                        <a:t>Product 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a:effectLst/>
                          <a:latin typeface="Slate Pro" panose="02000506040000020004" pitchFamily="2" charset="0"/>
                          <a:sym typeface="Slate Pro" panose="02000506040000020004" pitchFamily="2" charset="0"/>
                        </a:rPr>
                        <a:t>Product D1 </a:t>
                      </a:r>
                      <a:endParaRPr lang="en-US">
                        <a:latin typeface="Slate Pro" panose="02000506040000020004" pitchFamily="2" charset="0"/>
                        <a:sym typeface="Slate Pro" panose="02000506040000020004"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ea typeface="+mn-ea"/>
                          <a:cs typeface="+mn-cs"/>
                          <a:sym typeface="Slate Pro" panose="02000506040000020004" pitchFamily="2" charset="0"/>
                        </a:rPr>
                        <a:t>4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sym typeface="Slate Pro" panose="02000506040000020004" pitchFamily="2" charset="0"/>
                        </a:rPr>
                        <a:t>5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70%</a:t>
                      </a:r>
                      <a:endPar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endParaRP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late Pro" panose="02000506040000020004" pitchFamily="2" charset="0"/>
                          <a:ea typeface="+mn-ea"/>
                          <a:cs typeface="+mn-cs"/>
                          <a:sym typeface="Slate Pro" panose="02000506040000020004" pitchFamily="2" charset="0"/>
                        </a:rPr>
                        <a:t>90%</a:t>
                      </a:r>
                      <a:endPar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endParaRP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72660680"/>
                  </a:ext>
                </a:extLst>
              </a:tr>
              <a:tr h="308260">
                <a:tc vMerge="1">
                  <a:txBody>
                    <a:bodyPr/>
                    <a:lstStyle/>
                    <a:p>
                      <a:pPr algn="ctr" rtl="0" fontAlgn="b"/>
                      <a:r>
                        <a:rPr lang="en-US" sz="1000" dirty="0">
                          <a:effectLst/>
                          <a:latin typeface="Proxima Nova Rg" panose="02000506030000020004" pitchFamily="50" charset="0"/>
                        </a:rPr>
                        <a:t>Product B</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dirty="0">
                          <a:effectLst/>
                          <a:latin typeface="Slate Pro" panose="02000506040000020004" pitchFamily="2" charset="0"/>
                          <a:sym typeface="Slate Pro" panose="02000506040000020004" pitchFamily="2" charset="0"/>
                        </a:rPr>
                        <a:t>Product D2</a:t>
                      </a:r>
                      <a:endParaRPr lang="en-US" dirty="0">
                        <a:latin typeface="Slate Pro" panose="02000506040000020004" pitchFamily="2" charset="0"/>
                        <a:sym typeface="Slate Pro" panose="02000506040000020004"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ea typeface="+mn-ea"/>
                          <a:cs typeface="+mn-cs"/>
                          <a:sym typeface="Slate Pro" panose="02000506040000020004" pitchFamily="2" charset="0"/>
                        </a:rPr>
                        <a:t>4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Slate Pro" panose="02000506040000020004" pitchFamily="2" charset="0"/>
                          <a:sym typeface="Slate Pro" panose="02000506040000020004" pitchFamily="2" charset="0"/>
                        </a:rPr>
                        <a:t>5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rPr>
                        <a:t>7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T w="9525" cap="flat" cmpd="sng" algn="ctr">
                      <a:solidFill>
                        <a:schemeClr val="bg1">
                          <a:lumMod val="75000"/>
                        </a:schemeClr>
                      </a:solidFill>
                      <a:prstDash val="solid"/>
                      <a:round/>
                      <a:headEnd type="none" w="med" len="med"/>
                      <a:tailEnd type="none" w="med" len="med"/>
                    </a:lnT>
                    <a:lnB w="6350">
                      <a:solidFill>
                        <a:srgbClr val="868A8C"/>
                      </a:solidFill>
                      <a:prstDash val="solid"/>
                    </a:lnB>
                  </a:tcPr>
                </a:tc>
                <a:tc gridSpan="2">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late Pro" panose="02000506040000020004" pitchFamily="2" charset="0"/>
                          <a:ea typeface="+mn-ea"/>
                          <a:cs typeface="+mn-cs"/>
                          <a:sym typeface="Slate Pro" panose="02000506040000020004" pitchFamily="2" charset="0"/>
                        </a:rPr>
                        <a:t>90%</a:t>
                      </a:r>
                    </a:p>
                  </a:txBody>
                  <a:tcPr marL="3175" marR="3175"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algn="ctr" fontAlgn="b"/>
                      <a:endParaRPr lang="en-US" sz="1000" b="0" i="0" u="none" strike="noStrike" dirty="0">
                        <a:solidFill>
                          <a:srgbClr val="000000"/>
                        </a:solidFill>
                        <a:effectLst/>
                        <a:latin typeface="Proxima Nova Rg" panose="02000506030000020004" pitchFamily="50" charset="0"/>
                        <a:ea typeface="+mn-ea"/>
                        <a:cs typeface="+mn-cs"/>
                      </a:endParaRPr>
                    </a:p>
                  </a:txBody>
                  <a:tcPr marL="3175" marR="3175" marT="3175"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6350">
                      <a:solidFill>
                        <a:srgbClr val="868A8C"/>
                      </a:solidFill>
                      <a:prstDash val="solid"/>
                    </a:lnB>
                  </a:tcPr>
                </a:tc>
                <a:extLst>
                  <a:ext uri="{0D108BD9-81ED-4DB2-BD59-A6C34878D82A}">
                    <a16:rowId xmlns:a16="http://schemas.microsoft.com/office/drawing/2014/main" val="10006"/>
                  </a:ext>
                </a:extLst>
              </a:tr>
            </a:tbl>
          </a:graphicData>
        </a:graphic>
      </p:graphicFrame>
      <p:sp>
        <p:nvSpPr>
          <p:cNvPr id="3" name="object 3"/>
          <p:cNvSpPr txBox="1">
            <a:spLocks noGrp="1"/>
          </p:cNvSpPr>
          <p:nvPr>
            <p:ph type="title"/>
          </p:nvPr>
        </p:nvSpPr>
        <p:spPr>
          <a:xfrm>
            <a:off x="518300" y="301752"/>
            <a:ext cx="10652805" cy="565476"/>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Partner Certification Requirements</a:t>
            </a:r>
            <a:endParaRPr sz="3200" dirty="0">
              <a:solidFill>
                <a:srgbClr val="5A87C5"/>
              </a:solidFill>
            </a:endParaRPr>
          </a:p>
        </p:txBody>
      </p:sp>
      <p:sp>
        <p:nvSpPr>
          <p:cNvPr id="9" name="object 9"/>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23</a:t>
            </a:fld>
            <a:endParaRPr spc="-25"/>
          </a:p>
        </p:txBody>
      </p:sp>
      <p:sp>
        <p:nvSpPr>
          <p:cNvPr id="10" name="object 10"/>
          <p:cNvSpPr txBox="1">
            <a:spLocks noGrp="1"/>
          </p:cNvSpPr>
          <p:nvPr>
            <p:ph type="ftr" sz="quarter" idx="5"/>
          </p:nvPr>
        </p:nvSpPr>
        <p:spPr>
          <a:xfrm>
            <a:off x="7167026" y="7274483"/>
            <a:ext cx="2647950" cy="117020"/>
          </a:xfrm>
          <a:prstGeom prst="rect">
            <a:avLst/>
          </a:prstGeom>
        </p:spPr>
        <p:txBody>
          <a:bodyPr vert="horz" wrap="square" lIns="0" tIns="0" rIns="0" bIns="0" rtlCol="0">
            <a:spAutoFit/>
          </a:body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a:t>
            </a:r>
            <a:r>
              <a:rPr lang="en-US" spc="-25">
                <a:latin typeface="Slate Pro" panose="02000506040000020004" pitchFamily="2" charset="0"/>
                <a:sym typeface="Slate Pro" panose="02000506040000020004" pitchFamily="2" charset="0"/>
              </a:rPr>
              <a:t> </a:t>
            </a:r>
            <a:r>
              <a:rPr lang="en-US" spc="-10">
                <a:latin typeface="Slate Pro" panose="02000506040000020004" pitchFamily="2" charset="0"/>
                <a:sym typeface="Slate Pro" panose="02000506040000020004" pitchFamily="2" charset="0"/>
              </a:rPr>
              <a:t>NETWORK</a:t>
            </a:r>
            <a:r>
              <a:rPr lang="en-US" spc="-25">
                <a:latin typeface="Slate Pro" panose="02000506040000020004" pitchFamily="2" charset="0"/>
                <a:sym typeface="Slate Pro" panose="02000506040000020004" pitchFamily="2" charset="0"/>
              </a:rPr>
              <a:t> </a:t>
            </a:r>
            <a:r>
              <a:rPr lang="en-US" spc="-60">
                <a:latin typeface="Slate Pro" panose="02000506040000020004" pitchFamily="2" charset="0"/>
                <a:sym typeface="Slate Pro" panose="02000506040000020004" pitchFamily="2" charset="0"/>
              </a:rPr>
              <a:t>–</a:t>
            </a:r>
            <a:r>
              <a:rPr lang="en-US" spc="-20">
                <a:latin typeface="Slate Pro" panose="02000506040000020004" pitchFamily="2" charset="0"/>
                <a:sym typeface="Slate Pro" panose="02000506040000020004" pitchFamily="2" charset="0"/>
              </a:rPr>
              <a:t> </a:t>
            </a:r>
            <a:r>
              <a:rPr lang="en-US">
                <a:latin typeface="Slate Pro" panose="02000506040000020004" pitchFamily="2" charset="0"/>
                <a:sym typeface="Slate Pro" panose="02000506040000020004" pitchFamily="2" charset="0"/>
              </a:rPr>
              <a:t>PROGRAM</a:t>
            </a:r>
            <a:r>
              <a:rPr lang="en-US" spc="-20">
                <a:latin typeface="Slate Pro" panose="02000506040000020004" pitchFamily="2" charset="0"/>
                <a:sym typeface="Slate Pro" panose="02000506040000020004" pitchFamily="2" charset="0"/>
              </a:rPr>
              <a:t> </a:t>
            </a:r>
            <a:r>
              <a:rPr lang="en-US" spc="-10">
                <a:latin typeface="Slate Pro" panose="02000506040000020004" pitchFamily="2" charset="0"/>
                <a:sym typeface="Slate Pro" panose="02000506040000020004" pitchFamily="2" charset="0"/>
              </a:rPr>
              <a:t>GUIDE</a:t>
            </a:r>
          </a:p>
        </p:txBody>
      </p:sp>
      <p:sp>
        <p:nvSpPr>
          <p:cNvPr id="6" name="TextBox 5">
            <a:extLst>
              <a:ext uri="{FF2B5EF4-FFF2-40B4-BE49-F238E27FC236}">
                <a16:creationId xmlns:a16="http://schemas.microsoft.com/office/drawing/2014/main" id="{A42B28E4-1326-3FAE-52B6-CB26C0CB8B03}"/>
              </a:ext>
            </a:extLst>
          </p:cNvPr>
          <p:cNvSpPr txBox="1"/>
          <p:nvPr/>
        </p:nvSpPr>
        <p:spPr>
          <a:xfrm>
            <a:off x="531668" y="1075381"/>
            <a:ext cx="9681516" cy="523220"/>
          </a:xfrm>
          <a:prstGeom prst="rect">
            <a:avLst/>
          </a:prstGeom>
          <a:noFill/>
        </p:spPr>
        <p:txBody>
          <a:bodyPr wrap="square" lIns="0">
            <a:spAutoFit/>
          </a:bodyPr>
          <a:lstStyle/>
          <a:p>
            <a:pPr algn="l"/>
            <a:r>
              <a:rPr lang="en-US" sz="1400" dirty="0">
                <a:latin typeface="Slate Pro" panose="02000506040000020004" pitchFamily="2" charset="0"/>
                <a:sym typeface="Slate Pro" panose="02000506040000020004" pitchFamily="2" charset="0"/>
              </a:rPr>
              <a:t>To implement ACME products and solutions, Implementation Partners must complete applicable certifications. Completing these certifications enables Partners to maintain (and advance) their status within the program.</a:t>
            </a:r>
          </a:p>
        </p:txBody>
      </p:sp>
      <p:sp>
        <p:nvSpPr>
          <p:cNvPr id="5" name="object 6">
            <a:extLst>
              <a:ext uri="{FF2B5EF4-FFF2-40B4-BE49-F238E27FC236}">
                <a16:creationId xmlns:a16="http://schemas.microsoft.com/office/drawing/2014/main" id="{EEDF4823-04F9-1E9C-32CF-658DBB4F4690}"/>
              </a:ext>
            </a:extLst>
          </p:cNvPr>
          <p:cNvSpPr txBox="1"/>
          <p:nvPr/>
        </p:nvSpPr>
        <p:spPr>
          <a:xfrm>
            <a:off x="1071952" y="1894413"/>
            <a:ext cx="8549492" cy="289823"/>
          </a:xfrm>
          <a:prstGeom prst="rect">
            <a:avLst/>
          </a:prstGeom>
        </p:spPr>
        <p:txBody>
          <a:bodyPr vert="horz" wrap="square" lIns="0" tIns="12700" rIns="0" bIns="0" rtlCol="0">
            <a:spAutoFit/>
          </a:bodyPr>
          <a:lstStyle/>
          <a:p>
            <a:pPr marL="12700" algn="ctr">
              <a:spcBef>
                <a:spcPts val="100"/>
              </a:spcBef>
            </a:pPr>
            <a:r>
              <a:rPr lang="fr-FR" b="1" spc="-50" dirty="0">
                <a:latin typeface="Slate Pro" panose="02000506040000020004" pitchFamily="2" charset="0"/>
                <a:cs typeface="Arial"/>
                <a:sym typeface="Slate Pro" panose="02000506040000020004" pitchFamily="2" charset="0"/>
              </a:rPr>
              <a:t>Partner Implementation Certification Matrix – ACME Implementation Professional</a:t>
            </a:r>
            <a:endParaRPr lang="fr-FR" dirty="0">
              <a:latin typeface="Slate Pro" panose="02000506040000020004" pitchFamily="2" charset="0"/>
              <a:cs typeface="Arial"/>
              <a:sym typeface="Slate Pro" panose="02000506040000020004" pitchFamily="2" charset="0"/>
            </a:endParaRPr>
          </a:p>
        </p:txBody>
      </p:sp>
      <p:grpSp>
        <p:nvGrpSpPr>
          <p:cNvPr id="13" name="Group 12">
            <a:extLst>
              <a:ext uri="{FF2B5EF4-FFF2-40B4-BE49-F238E27FC236}">
                <a16:creationId xmlns:a16="http://schemas.microsoft.com/office/drawing/2014/main" id="{A3440AE1-51D4-8301-CB7A-2DA95C452F40}"/>
              </a:ext>
            </a:extLst>
          </p:cNvPr>
          <p:cNvGrpSpPr/>
          <p:nvPr/>
        </p:nvGrpSpPr>
        <p:grpSpPr>
          <a:xfrm>
            <a:off x="157427" y="7205390"/>
            <a:ext cx="2416310" cy="276999"/>
            <a:chOff x="157428" y="7205390"/>
            <a:chExt cx="2132373" cy="276999"/>
          </a:xfrm>
        </p:grpSpPr>
        <p:sp>
          <p:nvSpPr>
            <p:cNvPr id="14" name="TextBox 13">
              <a:hlinkClick r:id="rId6" action="ppaction://hlinksldjump"/>
              <a:extLst>
                <a:ext uri="{FF2B5EF4-FFF2-40B4-BE49-F238E27FC236}">
                  <a16:creationId xmlns:a16="http://schemas.microsoft.com/office/drawing/2014/main" id="{2820E77B-EDD9-9704-EDD5-D675503E8C91}"/>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6" name="Arrow: Right 15">
              <a:extLst>
                <a:ext uri="{FF2B5EF4-FFF2-40B4-BE49-F238E27FC236}">
                  <a16:creationId xmlns:a16="http://schemas.microsoft.com/office/drawing/2014/main" id="{56D8340C-64AC-44BC-24D2-895DD4BD4C81}"/>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23718377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EDD66B-806D-F383-DED6-2998C688230F}"/>
              </a:ext>
            </a:extLst>
          </p:cNvPr>
          <p:cNvGraphicFramePr>
            <a:graphicFrameLocks noChangeAspect="1"/>
          </p:cNvGraphicFramePr>
          <p:nvPr>
            <p:custDataLst>
              <p:tags r:id="rId1"/>
            </p:custDataLst>
            <p:extLst>
              <p:ext uri="{D42A27DB-BD31-4B8C-83A1-F6EECF244321}">
                <p14:modId xmlns:p14="http://schemas.microsoft.com/office/powerpoint/2010/main" val="319225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F0EDD66B-806D-F383-DED6-2998C6882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0" y="2"/>
            <a:ext cx="10692130" cy="7560309"/>
          </a:xfrm>
          <a:custGeom>
            <a:avLst/>
            <a:gdLst/>
            <a:ahLst/>
            <a:cxnLst/>
            <a:rect l="l" t="t" r="r" b="b"/>
            <a:pathLst>
              <a:path w="10692130" h="7560309">
                <a:moveTo>
                  <a:pt x="10692003" y="0"/>
                </a:moveTo>
                <a:lnTo>
                  <a:pt x="0" y="0"/>
                </a:lnTo>
                <a:lnTo>
                  <a:pt x="0" y="7560005"/>
                </a:lnTo>
                <a:lnTo>
                  <a:pt x="10692003" y="7560005"/>
                </a:lnTo>
                <a:lnTo>
                  <a:pt x="10692003" y="0"/>
                </a:lnTo>
                <a:close/>
              </a:path>
            </a:pathLst>
          </a:custGeom>
          <a:solidFill>
            <a:srgbClr val="000000">
              <a:alpha val="84999"/>
            </a:srgbClr>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8" name="object 8"/>
          <p:cNvSpPr txBox="1">
            <a:spLocks noGrp="1"/>
          </p:cNvSpPr>
          <p:nvPr>
            <p:ph type="title"/>
          </p:nvPr>
        </p:nvSpPr>
        <p:spPr>
          <a:xfrm>
            <a:off x="788679" y="1969413"/>
            <a:ext cx="5323365" cy="566822"/>
          </a:xfrm>
          <a:prstGeom prst="rect">
            <a:avLst/>
          </a:prstGeom>
        </p:spPr>
        <p:txBody>
          <a:bodyPr vert="horz" wrap="square" lIns="0" tIns="12700" rIns="0" bIns="0" rtlCol="0">
            <a:spAutoFit/>
          </a:bodyPr>
          <a:lstStyle/>
          <a:p>
            <a:pPr marL="12700">
              <a:spcBef>
                <a:spcPts val="100"/>
              </a:spcBef>
            </a:pPr>
            <a:r>
              <a:rPr lang="en-US" sz="3600" dirty="0">
                <a:solidFill>
                  <a:srgbClr val="FFFFFF"/>
                </a:solidFill>
              </a:rPr>
              <a:t>Get In Touch Today! </a:t>
            </a:r>
            <a:endParaRPr sz="3600" dirty="0"/>
          </a:p>
        </p:txBody>
      </p:sp>
      <p:sp>
        <p:nvSpPr>
          <p:cNvPr id="9" name="object 9"/>
          <p:cNvSpPr txBox="1"/>
          <p:nvPr/>
        </p:nvSpPr>
        <p:spPr>
          <a:xfrm>
            <a:off x="788678" y="2688567"/>
            <a:ext cx="4342123" cy="1627369"/>
          </a:xfrm>
          <a:prstGeom prst="rect">
            <a:avLst/>
          </a:prstGeom>
        </p:spPr>
        <p:txBody>
          <a:bodyPr vert="horz" wrap="square" lIns="0" tIns="41910" rIns="0" bIns="0" rtlCol="0">
            <a:spAutoFit/>
          </a:bodyPr>
          <a:lstStyle/>
          <a:p>
            <a:pPr marL="12700">
              <a:spcBef>
                <a:spcPts val="330"/>
              </a:spcBef>
            </a:pPr>
            <a:r>
              <a:rPr lang="en-US" sz="1400" spc="-20" dirty="0">
                <a:solidFill>
                  <a:srgbClr val="FFFFFF"/>
                </a:solidFill>
                <a:latin typeface="Slate Pro" panose="02000506040000020004" pitchFamily="2" charset="0"/>
                <a:cs typeface="Arial"/>
                <a:sym typeface="Slate Pro" panose="02000506040000020004" pitchFamily="2" charset="0"/>
              </a:rPr>
              <a:t>For</a:t>
            </a:r>
            <a:r>
              <a:rPr lang="en-US" sz="1400" spc="-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immediate </a:t>
            </a:r>
            <a:r>
              <a:rPr lang="en-US" sz="1400" spc="-25" dirty="0">
                <a:solidFill>
                  <a:srgbClr val="FFFFFF"/>
                </a:solidFill>
                <a:latin typeface="Slate Pro" panose="02000506040000020004" pitchFamily="2" charset="0"/>
                <a:cs typeface="Arial"/>
                <a:sym typeface="Slate Pro" panose="02000506040000020004" pitchFamily="2" charset="0"/>
              </a:rPr>
              <a:t>assistance,</a:t>
            </a:r>
            <a:r>
              <a:rPr lang="en-US" sz="1400" spc="-5" dirty="0">
                <a:solidFill>
                  <a:srgbClr val="FFFFFF"/>
                </a:solidFill>
                <a:latin typeface="Slate Pro" panose="02000506040000020004" pitchFamily="2" charset="0"/>
                <a:cs typeface="Arial"/>
                <a:sym typeface="Slate Pro" panose="02000506040000020004" pitchFamily="2" charset="0"/>
              </a:rPr>
              <a:t> </a:t>
            </a:r>
            <a:r>
              <a:rPr lang="en-US" sz="1400" spc="-20" dirty="0">
                <a:solidFill>
                  <a:srgbClr val="FFFFFF"/>
                </a:solidFill>
                <a:latin typeface="Slate Pro" panose="02000506040000020004" pitchFamily="2" charset="0"/>
                <a:cs typeface="Arial"/>
                <a:sym typeface="Slate Pro" panose="02000506040000020004" pitchFamily="2" charset="0"/>
              </a:rPr>
              <a:t>please</a:t>
            </a:r>
            <a:r>
              <a:rPr lang="en-US" sz="1400" dirty="0">
                <a:solidFill>
                  <a:srgbClr val="FFFFFF"/>
                </a:solidFill>
                <a:latin typeface="Slate Pro" panose="02000506040000020004" pitchFamily="2" charset="0"/>
                <a:cs typeface="Arial"/>
                <a:sym typeface="Slate Pro" panose="02000506040000020004" pitchFamily="2" charset="0"/>
              </a:rPr>
              <a:t> contact</a:t>
            </a:r>
            <a:r>
              <a:rPr lang="en-US" sz="1400" spc="-5" dirty="0">
                <a:solidFill>
                  <a:srgbClr val="FFFFFF"/>
                </a:solidFill>
                <a:latin typeface="Slate Pro" panose="02000506040000020004" pitchFamily="2" charset="0"/>
                <a:cs typeface="Arial"/>
                <a:sym typeface="Slate Pro" panose="02000506040000020004" pitchFamily="2" charset="0"/>
              </a:rPr>
              <a:t> </a:t>
            </a:r>
            <a:r>
              <a:rPr lang="en-US" sz="1400" spc="-20" dirty="0">
                <a:solidFill>
                  <a:srgbClr val="FFFFFF"/>
                </a:solidFill>
                <a:latin typeface="Slate Pro" panose="02000506040000020004" pitchFamily="2" charset="0"/>
                <a:cs typeface="Arial"/>
                <a:sym typeface="Slate Pro" panose="02000506040000020004" pitchFamily="2" charset="0"/>
              </a:rPr>
              <a:t>your</a:t>
            </a:r>
            <a:endParaRPr lang="en-US" sz="1400" dirty="0">
              <a:latin typeface="Slate Pro" panose="02000506040000020004" pitchFamily="2" charset="0"/>
              <a:cs typeface="Arial"/>
              <a:sym typeface="Slate Pro" panose="02000506040000020004" pitchFamily="2" charset="0"/>
            </a:endParaRPr>
          </a:p>
          <a:p>
            <a:pPr marL="12700">
              <a:spcBef>
                <a:spcPts val="229"/>
              </a:spcBef>
            </a:pPr>
            <a:r>
              <a:rPr lang="en-US" sz="1400" dirty="0">
                <a:solidFill>
                  <a:srgbClr val="FFFFFF"/>
                </a:solidFill>
                <a:latin typeface="Slate Pro" panose="02000506040000020004" pitchFamily="2" charset="0"/>
                <a:cs typeface="Arial"/>
                <a:sym typeface="Slate Pro" panose="02000506040000020004" pitchFamily="2" charset="0"/>
              </a:rPr>
              <a:t>ACME </a:t>
            </a:r>
            <a:r>
              <a:rPr lang="en-US" sz="1400" spc="-20" dirty="0">
                <a:solidFill>
                  <a:schemeClr val="bg1"/>
                </a:solidFill>
                <a:latin typeface="Slate Pro" panose="02000506040000020004" pitchFamily="2" charset="0"/>
                <a:cs typeface="Arial"/>
                <a:sym typeface="Slate Pro" panose="02000506040000020004" pitchFamily="2" charset="0"/>
              </a:rPr>
              <a:t>Partner </a:t>
            </a:r>
            <a:r>
              <a:rPr lang="en-US" sz="1400" spc="-10" dirty="0">
                <a:solidFill>
                  <a:schemeClr val="bg1"/>
                </a:solidFill>
                <a:latin typeface="Slate Pro" panose="02000506040000020004" pitchFamily="2" charset="0"/>
                <a:cs typeface="Arial"/>
                <a:sym typeface="Slate Pro" panose="02000506040000020004" pitchFamily="2" charset="0"/>
              </a:rPr>
              <a:t>Manager.</a:t>
            </a:r>
            <a:r>
              <a:rPr lang="en-US" sz="1400" spc="-15" dirty="0">
                <a:solidFill>
                  <a:schemeClr val="bg1"/>
                </a:solidFill>
                <a:latin typeface="Slate Pro" panose="02000506040000020004" pitchFamily="2" charset="0"/>
                <a:cs typeface="Arial"/>
                <a:sym typeface="Slate Pro" panose="02000506040000020004" pitchFamily="2" charset="0"/>
              </a:rPr>
              <a:t> </a:t>
            </a:r>
            <a:br>
              <a:rPr lang="en-US" sz="1400" spc="-15" dirty="0">
                <a:solidFill>
                  <a:schemeClr val="bg1"/>
                </a:solidFill>
                <a:latin typeface="Slate Pro" panose="02000506040000020004" pitchFamily="2" charset="0"/>
                <a:cs typeface="Arial"/>
                <a:sym typeface="Slate Pro" panose="02000506040000020004" pitchFamily="2" charset="0"/>
              </a:rPr>
            </a:br>
            <a:br>
              <a:rPr lang="en-US" sz="1400" spc="-15" dirty="0">
                <a:solidFill>
                  <a:schemeClr val="bg1"/>
                </a:solidFill>
                <a:latin typeface="Slate Pro" panose="02000506040000020004" pitchFamily="2" charset="0"/>
                <a:cs typeface="Arial"/>
                <a:sym typeface="Slate Pro" panose="02000506040000020004" pitchFamily="2" charset="0"/>
              </a:rPr>
            </a:br>
            <a:r>
              <a:rPr lang="en-US" sz="1400" spc="-20" dirty="0">
                <a:solidFill>
                  <a:srgbClr val="FFFFFF"/>
                </a:solidFill>
                <a:latin typeface="Slate Pro" panose="02000506040000020004" pitchFamily="2" charset="0"/>
                <a:cs typeface="Arial"/>
                <a:sym typeface="Slate Pro" panose="02000506040000020004" pitchFamily="2" charset="0"/>
              </a:rPr>
              <a:t>For </a:t>
            </a:r>
            <a:r>
              <a:rPr lang="en-US" sz="1400" dirty="0">
                <a:solidFill>
                  <a:srgbClr val="FFFFFF"/>
                </a:solidFill>
                <a:latin typeface="Slate Pro" panose="02000506040000020004" pitchFamily="2" charset="0"/>
                <a:cs typeface="Arial"/>
                <a:sym typeface="Slate Pro" panose="02000506040000020004" pitchFamily="2" charset="0"/>
              </a:rPr>
              <a:t>all</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other</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spc="-10" dirty="0">
                <a:solidFill>
                  <a:srgbClr val="FFFFFF"/>
                </a:solidFill>
                <a:latin typeface="Slate Pro" panose="02000506040000020004" pitchFamily="2" charset="0"/>
                <a:cs typeface="Arial"/>
                <a:sym typeface="Slate Pro" panose="02000506040000020004" pitchFamily="2" charset="0"/>
              </a:rPr>
              <a:t>inquiries:</a:t>
            </a:r>
            <a:endParaRPr lang="en-US" sz="1400" dirty="0">
              <a:latin typeface="Slate Pro" panose="02000506040000020004" pitchFamily="2" charset="0"/>
              <a:cs typeface="Arial"/>
              <a:sym typeface="Slate Pro" panose="02000506040000020004" pitchFamily="2" charset="0"/>
            </a:endParaRPr>
          </a:p>
          <a:p>
            <a:pPr>
              <a:lnSpc>
                <a:spcPct val="100000"/>
              </a:lnSpc>
            </a:pPr>
            <a:endParaRPr sz="1400" dirty="0">
              <a:latin typeface="Slate Pro" panose="02000506040000020004" pitchFamily="2" charset="0"/>
              <a:cs typeface="Arial"/>
              <a:sym typeface="Slate Pro" panose="02000506040000020004" pitchFamily="2" charset="0"/>
            </a:endParaRPr>
          </a:p>
          <a:p>
            <a:pPr marL="12700">
              <a:spcBef>
                <a:spcPts val="229"/>
              </a:spcBef>
              <a:tabLst>
                <a:tab pos="227965" algn="l"/>
              </a:tabLst>
            </a:pPr>
            <a:r>
              <a:rPr lang="en-US" sz="1400" b="1" spc="-50" dirty="0">
                <a:solidFill>
                  <a:srgbClr val="FFFFFF"/>
                </a:solidFill>
                <a:latin typeface="Slate Pro" panose="02000506040000020004" pitchFamily="2" charset="0"/>
                <a:cs typeface="Arial"/>
                <a:sym typeface="Slate Pro" panose="02000506040000020004" pitchFamily="2" charset="0"/>
              </a:rPr>
              <a:t>E</a:t>
            </a:r>
            <a:r>
              <a:rPr lang="en-US" sz="1400" b="1" dirty="0">
                <a:solidFill>
                  <a:srgbClr val="FFFFFF"/>
                </a:solidFill>
                <a:latin typeface="Slate Pro" panose="02000506040000020004" pitchFamily="2" charset="0"/>
                <a:cs typeface="Arial"/>
                <a:sym typeface="Slate Pro" panose="02000506040000020004" pitchFamily="2" charset="0"/>
              </a:rPr>
              <a:t>	</a:t>
            </a:r>
            <a:r>
              <a:rPr lang="en-US" sz="1400" b="1" spc="-10" dirty="0">
                <a:solidFill>
                  <a:schemeClr val="bg1"/>
                </a:solidFill>
                <a:uFill>
                  <a:solidFill>
                    <a:srgbClr val="FFFFFF"/>
                  </a:solidFill>
                </a:uFill>
                <a:latin typeface="Slate Pro" panose="02000506040000020004" pitchFamily="2" charset="0"/>
                <a:cs typeface="Arial"/>
                <a:sym typeface="Slate Pro" panose="02000506040000020004" pitchFamily="2" charset="0"/>
              </a:rPr>
              <a:t>Alliances@ACME.com</a:t>
            </a:r>
            <a:endParaRPr lang="en-US" sz="1400" dirty="0">
              <a:solidFill>
                <a:schemeClr val="bg1"/>
              </a:solidFill>
              <a:latin typeface="Slate Pro" panose="02000506040000020004" pitchFamily="2" charset="0"/>
              <a:cs typeface="Arial"/>
              <a:sym typeface="Slate Pro" panose="02000506040000020004" pitchFamily="2" charset="0"/>
            </a:endParaRPr>
          </a:p>
          <a:p>
            <a:pPr marL="12700">
              <a:spcBef>
                <a:spcPts val="229"/>
              </a:spcBef>
            </a:pPr>
            <a:r>
              <a:rPr lang="en-US" sz="1400" b="1" spc="50" dirty="0">
                <a:solidFill>
                  <a:srgbClr val="FFFFFF"/>
                </a:solidFill>
                <a:latin typeface="Slate Pro" panose="02000506040000020004" pitchFamily="2" charset="0"/>
                <a:cs typeface="Arial"/>
                <a:sym typeface="Slate Pro" panose="02000506040000020004" pitchFamily="2" charset="0"/>
              </a:rPr>
              <a:t>W</a:t>
            </a:r>
            <a:r>
              <a:rPr lang="en-US" sz="1400" b="1" spc="290" dirty="0">
                <a:solidFill>
                  <a:srgbClr val="FFFFFF"/>
                </a:solidFill>
                <a:latin typeface="Slate Pro" panose="02000506040000020004" pitchFamily="2" charset="0"/>
                <a:cs typeface="Arial"/>
                <a:sym typeface="Slate Pro" panose="02000506040000020004" pitchFamily="2" charset="0"/>
              </a:rPr>
              <a:t> </a:t>
            </a:r>
            <a:r>
              <a:rPr lang="en-US" sz="1400" u="sng" spc="-10" dirty="0">
                <a:solidFill>
                  <a:schemeClr val="bg1"/>
                </a:solidFill>
                <a:uFill>
                  <a:solidFill>
                    <a:srgbClr val="FFFFFF"/>
                  </a:solidFill>
                </a:uFill>
                <a:latin typeface="Slate Pro" panose="02000506040000020004" pitchFamily="2" charset="0"/>
                <a:cs typeface="Arial"/>
                <a:sym typeface="Slate Pro" panose="02000506040000020004" pitchFamily="2" charset="0"/>
              </a:rPr>
              <a:t>ACME.com</a:t>
            </a:r>
            <a:endParaRPr lang="en-US" sz="1400" dirty="0">
              <a:solidFill>
                <a:schemeClr val="bg1"/>
              </a:solidFill>
              <a:latin typeface="Slate Pro" panose="02000506040000020004" pitchFamily="2" charset="0"/>
              <a:cs typeface="Arial"/>
              <a:sym typeface="Slate Pro" panose="02000506040000020004" pitchFamily="2" charset="0"/>
            </a:endParaRPr>
          </a:p>
        </p:txBody>
      </p:sp>
      <p:pic>
        <p:nvPicPr>
          <p:cNvPr id="10" name="object 10"/>
          <p:cNvPicPr/>
          <p:nvPr/>
        </p:nvPicPr>
        <p:blipFill>
          <a:blip r:embed="rId6" cstate="print"/>
          <a:stretch>
            <a:fillRect/>
          </a:stretch>
        </p:blipFill>
        <p:spPr>
          <a:xfrm>
            <a:off x="9012605" y="6749255"/>
            <a:ext cx="236618" cy="209805"/>
          </a:xfrm>
          <a:prstGeom prst="rect">
            <a:avLst/>
          </a:prstGeom>
        </p:spPr>
      </p:pic>
      <p:sp>
        <p:nvSpPr>
          <p:cNvPr id="11" name="object 11"/>
          <p:cNvSpPr/>
          <p:nvPr/>
        </p:nvSpPr>
        <p:spPr>
          <a:xfrm>
            <a:off x="9420914" y="6733625"/>
            <a:ext cx="308610" cy="240029"/>
          </a:xfrm>
          <a:custGeom>
            <a:avLst/>
            <a:gdLst/>
            <a:ahLst/>
            <a:cxnLst/>
            <a:rect l="l" t="t" r="r" b="b"/>
            <a:pathLst>
              <a:path w="308609" h="240029">
                <a:moveTo>
                  <a:pt x="213329" y="0"/>
                </a:moveTo>
                <a:lnTo>
                  <a:pt x="188695" y="4758"/>
                </a:lnTo>
                <a:lnTo>
                  <a:pt x="168626" y="17724"/>
                </a:lnTo>
                <a:lnTo>
                  <a:pt x="155120" y="36931"/>
                </a:lnTo>
                <a:lnTo>
                  <a:pt x="150174" y="60413"/>
                </a:lnTo>
                <a:lnTo>
                  <a:pt x="150174" y="65087"/>
                </a:lnTo>
                <a:lnTo>
                  <a:pt x="150758" y="69761"/>
                </a:lnTo>
                <a:lnTo>
                  <a:pt x="151736" y="74256"/>
                </a:lnTo>
                <a:lnTo>
                  <a:pt x="113647" y="68429"/>
                </a:lnTo>
                <a:lnTo>
                  <a:pt x="78622" y="55410"/>
                </a:lnTo>
                <a:lnTo>
                  <a:pt x="47595" y="36009"/>
                </a:lnTo>
                <a:lnTo>
                  <a:pt x="21500" y="11036"/>
                </a:lnTo>
                <a:lnTo>
                  <a:pt x="17848" y="18009"/>
                </a:lnTo>
                <a:lnTo>
                  <a:pt x="15149" y="25438"/>
                </a:lnTo>
                <a:lnTo>
                  <a:pt x="13476" y="33285"/>
                </a:lnTo>
                <a:lnTo>
                  <a:pt x="12902" y="41516"/>
                </a:lnTo>
                <a:lnTo>
                  <a:pt x="14909" y="56693"/>
                </a:lnTo>
                <a:lnTo>
                  <a:pt x="20598" y="70465"/>
                </a:lnTo>
                <a:lnTo>
                  <a:pt x="29479" y="82342"/>
                </a:lnTo>
                <a:lnTo>
                  <a:pt x="41058" y="91833"/>
                </a:lnTo>
                <a:lnTo>
                  <a:pt x="33407" y="91111"/>
                </a:lnTo>
                <a:lnTo>
                  <a:pt x="26050" y="89546"/>
                </a:lnTo>
                <a:lnTo>
                  <a:pt x="19059" y="87206"/>
                </a:lnTo>
                <a:lnTo>
                  <a:pt x="12509" y="84162"/>
                </a:lnTo>
                <a:lnTo>
                  <a:pt x="12509" y="84912"/>
                </a:lnTo>
                <a:lnTo>
                  <a:pt x="16352" y="105775"/>
                </a:lnTo>
                <a:lnTo>
                  <a:pt x="26978" y="123466"/>
                </a:lnTo>
                <a:lnTo>
                  <a:pt x="43031" y="136704"/>
                </a:lnTo>
                <a:lnTo>
                  <a:pt x="63155" y="144208"/>
                </a:lnTo>
                <a:lnTo>
                  <a:pt x="57872" y="145516"/>
                </a:lnTo>
                <a:lnTo>
                  <a:pt x="52208" y="146265"/>
                </a:lnTo>
                <a:lnTo>
                  <a:pt x="42429" y="146265"/>
                </a:lnTo>
                <a:lnTo>
                  <a:pt x="34606" y="145326"/>
                </a:lnTo>
                <a:lnTo>
                  <a:pt x="43308" y="161893"/>
                </a:lnTo>
                <a:lnTo>
                  <a:pt x="56723" y="175042"/>
                </a:lnTo>
                <a:lnTo>
                  <a:pt x="73842" y="183807"/>
                </a:lnTo>
                <a:lnTo>
                  <a:pt x="93660" y="187223"/>
                </a:lnTo>
                <a:lnTo>
                  <a:pt x="76405" y="198118"/>
                </a:lnTo>
                <a:lnTo>
                  <a:pt x="57390" y="206227"/>
                </a:lnTo>
                <a:lnTo>
                  <a:pt x="36908" y="211285"/>
                </a:lnTo>
                <a:lnTo>
                  <a:pt x="15252" y="213029"/>
                </a:lnTo>
                <a:lnTo>
                  <a:pt x="5079" y="212839"/>
                </a:lnTo>
                <a:lnTo>
                  <a:pt x="0" y="212280"/>
                </a:lnTo>
                <a:lnTo>
                  <a:pt x="21919" y="223778"/>
                </a:lnTo>
                <a:lnTo>
                  <a:pt x="45560" y="232297"/>
                </a:lnTo>
                <a:lnTo>
                  <a:pt x="70667" y="237588"/>
                </a:lnTo>
                <a:lnTo>
                  <a:pt x="96987" y="239407"/>
                </a:lnTo>
                <a:lnTo>
                  <a:pt x="150623" y="232221"/>
                </a:lnTo>
                <a:lnTo>
                  <a:pt x="195190" y="212591"/>
                </a:lnTo>
                <a:lnTo>
                  <a:pt x="230383" y="183413"/>
                </a:lnTo>
                <a:lnTo>
                  <a:pt x="255898" y="147580"/>
                </a:lnTo>
                <a:lnTo>
                  <a:pt x="271430" y="107986"/>
                </a:lnTo>
                <a:lnTo>
                  <a:pt x="276675" y="67525"/>
                </a:lnTo>
                <a:lnTo>
                  <a:pt x="276485" y="59664"/>
                </a:lnTo>
                <a:lnTo>
                  <a:pt x="285422" y="52840"/>
                </a:lnTo>
                <a:lnTo>
                  <a:pt x="293717" y="45312"/>
                </a:lnTo>
                <a:lnTo>
                  <a:pt x="301314" y="37152"/>
                </a:lnTo>
                <a:lnTo>
                  <a:pt x="308158" y="28435"/>
                </a:lnTo>
                <a:lnTo>
                  <a:pt x="299478" y="31683"/>
                </a:lnTo>
                <a:lnTo>
                  <a:pt x="290486" y="34370"/>
                </a:lnTo>
                <a:lnTo>
                  <a:pt x="281237" y="36427"/>
                </a:lnTo>
                <a:lnTo>
                  <a:pt x="271786" y="37782"/>
                </a:lnTo>
                <a:lnTo>
                  <a:pt x="280994" y="31397"/>
                </a:lnTo>
                <a:lnTo>
                  <a:pt x="288826" y="23591"/>
                </a:lnTo>
                <a:lnTo>
                  <a:pt x="295081" y="14559"/>
                </a:lnTo>
                <a:lnTo>
                  <a:pt x="299560" y="4495"/>
                </a:lnTo>
                <a:lnTo>
                  <a:pt x="290187" y="9320"/>
                </a:lnTo>
                <a:lnTo>
                  <a:pt x="280319" y="13395"/>
                </a:lnTo>
                <a:lnTo>
                  <a:pt x="270048" y="16665"/>
                </a:lnTo>
                <a:lnTo>
                  <a:pt x="259467" y="19075"/>
                </a:lnTo>
                <a:lnTo>
                  <a:pt x="249951" y="11128"/>
                </a:lnTo>
                <a:lnTo>
                  <a:pt x="238894" y="5122"/>
                </a:lnTo>
                <a:lnTo>
                  <a:pt x="226589" y="1324"/>
                </a:lnTo>
                <a:lnTo>
                  <a:pt x="213329" y="0"/>
                </a:lnTo>
                <a:close/>
              </a:path>
            </a:pathLst>
          </a:custGeom>
          <a:solidFill>
            <a:srgbClr val="878787"/>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12" name="object 12"/>
          <p:cNvSpPr/>
          <p:nvPr/>
        </p:nvSpPr>
        <p:spPr>
          <a:xfrm>
            <a:off x="9889765" y="6750256"/>
            <a:ext cx="321945" cy="210185"/>
          </a:xfrm>
          <a:custGeom>
            <a:avLst/>
            <a:gdLst/>
            <a:ahLst/>
            <a:cxnLst/>
            <a:rect l="l" t="t" r="r" b="b"/>
            <a:pathLst>
              <a:path w="321945" h="210184">
                <a:moveTo>
                  <a:pt x="160762" y="0"/>
                </a:moveTo>
                <a:lnTo>
                  <a:pt x="102206" y="98"/>
                </a:lnTo>
                <a:lnTo>
                  <a:pt x="51140" y="2646"/>
                </a:lnTo>
                <a:lnTo>
                  <a:pt x="10675" y="23717"/>
                </a:lnTo>
                <a:lnTo>
                  <a:pt x="734" y="77756"/>
                </a:lnTo>
                <a:lnTo>
                  <a:pt x="0" y="97116"/>
                </a:lnTo>
                <a:lnTo>
                  <a:pt x="0" y="133730"/>
                </a:lnTo>
                <a:lnTo>
                  <a:pt x="6613" y="177394"/>
                </a:lnTo>
                <a:lnTo>
                  <a:pt x="35060" y="203531"/>
                </a:lnTo>
                <a:lnTo>
                  <a:pt x="107322" y="209021"/>
                </a:lnTo>
                <a:lnTo>
                  <a:pt x="160762" y="209805"/>
                </a:lnTo>
                <a:lnTo>
                  <a:pt x="219318" y="209707"/>
                </a:lnTo>
                <a:lnTo>
                  <a:pt x="270384" y="207158"/>
                </a:lnTo>
                <a:lnTo>
                  <a:pt x="310854" y="186447"/>
                </a:lnTo>
                <a:lnTo>
                  <a:pt x="319362" y="149479"/>
                </a:lnTo>
                <a:lnTo>
                  <a:pt x="127857" y="149479"/>
                </a:lnTo>
                <a:lnTo>
                  <a:pt x="127857" y="60744"/>
                </a:lnTo>
                <a:lnTo>
                  <a:pt x="320847" y="60744"/>
                </a:lnTo>
                <a:lnTo>
                  <a:pt x="320790" y="59430"/>
                </a:lnTo>
                <a:lnTo>
                  <a:pt x="304493" y="16003"/>
                </a:lnTo>
                <a:lnTo>
                  <a:pt x="256236" y="2646"/>
                </a:lnTo>
                <a:lnTo>
                  <a:pt x="214203" y="784"/>
                </a:lnTo>
                <a:lnTo>
                  <a:pt x="176874" y="98"/>
                </a:lnTo>
                <a:lnTo>
                  <a:pt x="160762" y="0"/>
                </a:lnTo>
                <a:close/>
              </a:path>
              <a:path w="321945" h="210184">
                <a:moveTo>
                  <a:pt x="320847" y="60744"/>
                </a:moveTo>
                <a:lnTo>
                  <a:pt x="127857" y="60744"/>
                </a:lnTo>
                <a:lnTo>
                  <a:pt x="211955" y="105118"/>
                </a:lnTo>
                <a:lnTo>
                  <a:pt x="127857" y="149479"/>
                </a:lnTo>
                <a:lnTo>
                  <a:pt x="319362" y="149479"/>
                </a:lnTo>
                <a:lnTo>
                  <a:pt x="320790" y="132474"/>
                </a:lnTo>
                <a:lnTo>
                  <a:pt x="321525" y="113118"/>
                </a:lnTo>
                <a:lnTo>
                  <a:pt x="321525" y="76499"/>
                </a:lnTo>
                <a:lnTo>
                  <a:pt x="320847" y="60744"/>
                </a:lnTo>
                <a:close/>
              </a:path>
            </a:pathLst>
          </a:custGeom>
          <a:solidFill>
            <a:srgbClr val="878787"/>
          </a:solidFill>
        </p:spPr>
        <p:txBody>
          <a:bodyPr wrap="square" lIns="0" tIns="0" rIns="0" bIns="0" rtlCol="0"/>
          <a:lstStyle/>
          <a:p>
            <a:endParaRPr>
              <a:latin typeface="Slate Pro" panose="02000506040000020004" pitchFamily="2" charset="0"/>
              <a:sym typeface="Slate Pro" panose="02000506040000020004" pitchFamily="2" charset="0"/>
            </a:endParaRPr>
          </a:p>
        </p:txBody>
      </p:sp>
      <p:grpSp>
        <p:nvGrpSpPr>
          <p:cNvPr id="15" name="Group 14">
            <a:extLst>
              <a:ext uri="{FF2B5EF4-FFF2-40B4-BE49-F238E27FC236}">
                <a16:creationId xmlns:a16="http://schemas.microsoft.com/office/drawing/2014/main" id="{608C03E6-D1C0-2DE5-62EC-AAB239CBD8B2}"/>
              </a:ext>
            </a:extLst>
          </p:cNvPr>
          <p:cNvGrpSpPr/>
          <p:nvPr/>
        </p:nvGrpSpPr>
        <p:grpSpPr>
          <a:xfrm>
            <a:off x="157427" y="7205390"/>
            <a:ext cx="2416310" cy="276999"/>
            <a:chOff x="157428" y="7205390"/>
            <a:chExt cx="2132373" cy="276999"/>
          </a:xfrm>
        </p:grpSpPr>
        <p:sp>
          <p:nvSpPr>
            <p:cNvPr id="16" name="TextBox 15">
              <a:hlinkClick r:id="rId7" action="ppaction://hlinksldjump"/>
              <a:extLst>
                <a:ext uri="{FF2B5EF4-FFF2-40B4-BE49-F238E27FC236}">
                  <a16:creationId xmlns:a16="http://schemas.microsoft.com/office/drawing/2014/main" id="{89FF98C7-B90C-3806-3F59-86DBF3585F8A}"/>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7" name="Arrow: Right 16">
              <a:extLst>
                <a:ext uri="{FF2B5EF4-FFF2-40B4-BE49-F238E27FC236}">
                  <a16:creationId xmlns:a16="http://schemas.microsoft.com/office/drawing/2014/main" id="{00E8F8F0-7553-E605-51D3-FB68EABF127B}"/>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8CF2BFFA-F528-A0AB-48E2-FD2338EC948A}"/>
              </a:ext>
            </a:extLst>
          </p:cNvPr>
          <p:cNvGraphicFramePr>
            <a:graphicFrameLocks noChangeAspect="1"/>
          </p:cNvGraphicFramePr>
          <p:nvPr>
            <p:custDataLst>
              <p:tags r:id="rId1"/>
            </p:custDataLst>
            <p:extLst>
              <p:ext uri="{D42A27DB-BD31-4B8C-83A1-F6EECF244321}">
                <p14:modId xmlns:p14="http://schemas.microsoft.com/office/powerpoint/2010/main" val="2442955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Object 14" hidden="1">
                        <a:extLst>
                          <a:ext uri="{FF2B5EF4-FFF2-40B4-BE49-F238E27FC236}">
                            <a16:creationId xmlns:a16="http://schemas.microsoft.com/office/drawing/2014/main" id="{8CF2BFFA-F528-A0AB-48E2-FD2338EC94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object 3"/>
          <p:cNvGrpSpPr/>
          <p:nvPr/>
        </p:nvGrpSpPr>
        <p:grpSpPr>
          <a:xfrm>
            <a:off x="0" y="3281430"/>
            <a:ext cx="10692612" cy="1188085"/>
            <a:chOff x="0" y="4752009"/>
            <a:chExt cx="10692612" cy="1188085"/>
          </a:xfrm>
        </p:grpSpPr>
        <p:sp>
          <p:nvSpPr>
            <p:cNvPr id="5" name="object 5"/>
            <p:cNvSpPr/>
            <p:nvPr/>
          </p:nvSpPr>
          <p:spPr>
            <a:xfrm>
              <a:off x="2169007" y="4752009"/>
              <a:ext cx="8523605" cy="1188085"/>
            </a:xfrm>
            <a:custGeom>
              <a:avLst/>
              <a:gdLst/>
              <a:ahLst/>
              <a:cxnLst/>
              <a:rect l="l" t="t" r="r" b="b"/>
              <a:pathLst>
                <a:path w="8523605" h="1188085">
                  <a:moveTo>
                    <a:pt x="0" y="1187996"/>
                  </a:moveTo>
                  <a:lnTo>
                    <a:pt x="8522995" y="1187996"/>
                  </a:lnTo>
                  <a:lnTo>
                    <a:pt x="8522995" y="0"/>
                  </a:lnTo>
                  <a:lnTo>
                    <a:pt x="0" y="0"/>
                  </a:lnTo>
                  <a:lnTo>
                    <a:pt x="0" y="1187996"/>
                  </a:lnTo>
                  <a:close/>
                </a:path>
              </a:pathLst>
            </a:custGeom>
            <a:solidFill>
              <a:srgbClr val="4D4F56">
                <a:alpha val="89804"/>
              </a:srgbClr>
            </a:solidFill>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6" name="object 6"/>
            <p:cNvSpPr/>
            <p:nvPr/>
          </p:nvSpPr>
          <p:spPr>
            <a:xfrm>
              <a:off x="0" y="4752009"/>
              <a:ext cx="2169160" cy="1188085"/>
            </a:xfrm>
            <a:custGeom>
              <a:avLst/>
              <a:gdLst/>
              <a:ahLst/>
              <a:cxnLst/>
              <a:rect l="l" t="t" r="r" b="b"/>
              <a:pathLst>
                <a:path w="2169160" h="1188085">
                  <a:moveTo>
                    <a:pt x="2169007" y="0"/>
                  </a:moveTo>
                  <a:lnTo>
                    <a:pt x="0" y="0"/>
                  </a:lnTo>
                  <a:lnTo>
                    <a:pt x="0" y="1187996"/>
                  </a:lnTo>
                  <a:lnTo>
                    <a:pt x="2169007" y="1187996"/>
                  </a:lnTo>
                  <a:lnTo>
                    <a:pt x="2169007" y="0"/>
                  </a:lnTo>
                  <a:close/>
                </a:path>
              </a:pathLst>
            </a:custGeom>
            <a:solidFill>
              <a:srgbClr val="5987C6"/>
            </a:solidFill>
          </p:spPr>
          <p:txBody>
            <a:bodyPr wrap="square" lIns="0" tIns="0" rIns="0" bIns="0" rtlCol="0"/>
            <a:lstStyle/>
            <a:p>
              <a:endParaRPr>
                <a:latin typeface="Slate Pro" panose="02000506040000020004" pitchFamily="2" charset="0"/>
                <a:sym typeface="Slate Pro" panose="02000506040000020004" pitchFamily="2" charset="0"/>
              </a:endParaRPr>
            </a:p>
          </p:txBody>
        </p:sp>
      </p:grpSp>
      <p:sp>
        <p:nvSpPr>
          <p:cNvPr id="9" name="object 9"/>
          <p:cNvSpPr txBox="1">
            <a:spLocks noGrp="1"/>
          </p:cNvSpPr>
          <p:nvPr>
            <p:ph type="title"/>
          </p:nvPr>
        </p:nvSpPr>
        <p:spPr>
          <a:xfrm>
            <a:off x="2432730" y="3600009"/>
            <a:ext cx="7996312" cy="566822"/>
          </a:xfrm>
          <a:prstGeom prst="rect">
            <a:avLst/>
          </a:prstGeom>
        </p:spPr>
        <p:txBody>
          <a:bodyPr vert="horz" wrap="square" lIns="0" tIns="12700" rIns="0" bIns="0" rtlCol="0">
            <a:spAutoFit/>
          </a:bodyPr>
          <a:lstStyle/>
          <a:p>
            <a:pPr marL="12700">
              <a:spcBef>
                <a:spcPts val="100"/>
              </a:spcBef>
            </a:pPr>
            <a:r>
              <a:rPr lang="en-US" sz="3600" dirty="0">
                <a:solidFill>
                  <a:srgbClr val="FFFFFF"/>
                </a:solidFill>
              </a:rPr>
              <a:t>ACME Partner Program</a:t>
            </a:r>
            <a:r>
              <a:rPr lang="en-US" sz="3600" spc="40" dirty="0">
                <a:solidFill>
                  <a:srgbClr val="FFFFFF"/>
                </a:solidFill>
              </a:rPr>
              <a:t> </a:t>
            </a:r>
            <a:r>
              <a:rPr lang="en-US" sz="3600" spc="70" dirty="0">
                <a:solidFill>
                  <a:srgbClr val="FFFFFF"/>
                </a:solidFill>
              </a:rPr>
              <a:t>Guide</a:t>
            </a:r>
            <a:endParaRPr lang="en-US" sz="3600" dirty="0"/>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815A6BEF-D065-F30D-AC8B-D34A7718BFAF}"/>
              </a:ext>
            </a:extLst>
          </p:cNvPr>
          <p:cNvGraphicFramePr>
            <a:graphicFrameLocks noChangeAspect="1"/>
          </p:cNvGraphicFramePr>
          <p:nvPr>
            <p:custDataLst>
              <p:tags r:id="rId1"/>
            </p:custDataLst>
            <p:extLst>
              <p:ext uri="{D42A27DB-BD31-4B8C-83A1-F6EECF244321}">
                <p14:modId xmlns:p14="http://schemas.microsoft.com/office/powerpoint/2010/main" val="181418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9" name="Object 28" hidden="1">
                        <a:extLst>
                          <a:ext uri="{FF2B5EF4-FFF2-40B4-BE49-F238E27FC236}">
                            <a16:creationId xmlns:a16="http://schemas.microsoft.com/office/drawing/2014/main" id="{815A6BEF-D065-F30D-AC8B-D34A7718BF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p:nvPr/>
        </p:nvSpPr>
        <p:spPr>
          <a:xfrm>
            <a:off x="4626001" y="2"/>
            <a:ext cx="6067400" cy="7072359"/>
          </a:xfrm>
          <a:custGeom>
            <a:avLst/>
            <a:gdLst/>
            <a:ahLst/>
            <a:cxnLst/>
            <a:rect l="l" t="t" r="r" b="b"/>
            <a:pathLst>
              <a:path w="6077584" h="7065009">
                <a:moveTo>
                  <a:pt x="6077508" y="0"/>
                </a:moveTo>
                <a:lnTo>
                  <a:pt x="0" y="0"/>
                </a:lnTo>
                <a:lnTo>
                  <a:pt x="0" y="7064997"/>
                </a:lnTo>
                <a:lnTo>
                  <a:pt x="6077508" y="7064997"/>
                </a:lnTo>
                <a:lnTo>
                  <a:pt x="6077508" y="0"/>
                </a:lnTo>
                <a:close/>
              </a:path>
            </a:pathLst>
          </a:custGeom>
          <a:solidFill>
            <a:srgbClr val="4D4F56"/>
          </a:solidFill>
        </p:spPr>
        <p:txBody>
          <a:bodyPr wrap="square" lIns="0" tIns="0" rIns="0" bIns="0" rtlCol="0"/>
          <a:lstStyle/>
          <a:p>
            <a:endParaRPr lang="en-US">
              <a:latin typeface="Slate Pro" panose="02000506040000020004" pitchFamily="2" charset="0"/>
              <a:sym typeface="Slate Pro" panose="02000506040000020004" pitchFamily="2" charset="0"/>
            </a:endParaRPr>
          </a:p>
        </p:txBody>
      </p:sp>
      <p:sp>
        <p:nvSpPr>
          <p:cNvPr id="21" name="object 21"/>
          <p:cNvSpPr txBox="1"/>
          <p:nvPr/>
        </p:nvSpPr>
        <p:spPr>
          <a:xfrm>
            <a:off x="5082957" y="907107"/>
            <a:ext cx="5245815" cy="1732975"/>
          </a:xfrm>
          <a:prstGeom prst="rect">
            <a:avLst/>
          </a:prstGeom>
        </p:spPr>
        <p:txBody>
          <a:bodyPr vert="horz" wrap="square" lIns="0" tIns="12700" rIns="0" bIns="0" rtlCol="0">
            <a:spAutoFit/>
          </a:bodyPr>
          <a:lstStyle/>
          <a:p>
            <a:pPr marL="63500" marR="130175" algn="l">
              <a:lnSpc>
                <a:spcPct val="129200"/>
              </a:lnSpc>
              <a:spcBef>
                <a:spcPts val="100"/>
              </a:spcBef>
            </a:pPr>
            <a:r>
              <a:rPr lang="en-US" sz="1400" dirty="0">
                <a:solidFill>
                  <a:srgbClr val="FFFFFF"/>
                </a:solidFill>
                <a:latin typeface="Slate Pro" panose="02000506040000020004" pitchFamily="2" charset="0"/>
                <a:cs typeface="Arial"/>
                <a:sym typeface="Slate Pro" panose="02000506040000020004" pitchFamily="2" charset="0"/>
              </a:rPr>
              <a:t>Many</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of</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the</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materials</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we</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link</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to</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within</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this</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guide</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spc="-20" dirty="0">
                <a:solidFill>
                  <a:srgbClr val="FFFFFF"/>
                </a:solidFill>
                <a:latin typeface="Slate Pro" panose="02000506040000020004" pitchFamily="2" charset="0"/>
                <a:cs typeface="Arial"/>
                <a:sym typeface="Slate Pro" panose="02000506040000020004" pitchFamily="2" charset="0"/>
              </a:rPr>
              <a:t>reside</a:t>
            </a:r>
            <a:r>
              <a:rPr lang="en-US" sz="1400" spc="-15" dirty="0">
                <a:solidFill>
                  <a:srgbClr val="FFFFFF"/>
                </a:solidFill>
                <a:latin typeface="Slate Pro" panose="02000506040000020004" pitchFamily="2" charset="0"/>
                <a:cs typeface="Arial"/>
                <a:sym typeface="Slate Pro" panose="02000506040000020004" pitchFamily="2" charset="0"/>
              </a:rPr>
              <a:t> in the </a:t>
            </a:r>
            <a:r>
              <a:rPr lang="en-US" sz="1400" spc="-10" dirty="0">
                <a:solidFill>
                  <a:srgbClr val="FFFFFF"/>
                </a:solidFill>
                <a:latin typeface="Slate Pro" panose="02000506040000020004" pitchFamily="2" charset="0"/>
                <a:cs typeface="Arial"/>
                <a:sym typeface="Slate Pro" panose="02000506040000020004" pitchFamily="2" charset="0"/>
              </a:rPr>
              <a:t>ACME </a:t>
            </a:r>
            <a:r>
              <a:rPr lang="en-US" sz="1400" spc="-30" dirty="0">
                <a:solidFill>
                  <a:srgbClr val="FFFFFF"/>
                </a:solidFill>
                <a:latin typeface="Slate Pro" panose="02000506040000020004" pitchFamily="2" charset="0"/>
                <a:cs typeface="Arial"/>
                <a:sym typeface="Slate Pro" panose="02000506040000020004" pitchFamily="2" charset="0"/>
              </a:rPr>
              <a:t>Partner</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spc="-25" dirty="0">
                <a:solidFill>
                  <a:srgbClr val="FFFFFF"/>
                </a:solidFill>
                <a:latin typeface="Slate Pro" panose="02000506040000020004" pitchFamily="2" charset="0"/>
                <a:cs typeface="Arial"/>
                <a:sym typeface="Slate Pro" panose="02000506040000020004" pitchFamily="2" charset="0"/>
              </a:rPr>
              <a:t>Portal.</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If</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you</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haven’t</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spc="-10" dirty="0">
                <a:solidFill>
                  <a:srgbClr val="FFFFFF"/>
                </a:solidFill>
                <a:latin typeface="Slate Pro" panose="02000506040000020004" pitchFamily="2" charset="0"/>
                <a:cs typeface="Arial"/>
                <a:sym typeface="Slate Pro" panose="02000506040000020004" pitchFamily="2" charset="0"/>
              </a:rPr>
              <a:t>already</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spc="-20" dirty="0">
                <a:solidFill>
                  <a:srgbClr val="FFFFFF"/>
                </a:solidFill>
                <a:latin typeface="Slate Pro" panose="02000506040000020004" pitchFamily="2" charset="0"/>
                <a:cs typeface="Arial"/>
                <a:sym typeface="Slate Pro" panose="02000506040000020004" pitchFamily="2" charset="0"/>
              </a:rPr>
              <a:t>registered, </a:t>
            </a:r>
            <a:r>
              <a:rPr lang="en-US" sz="1400" dirty="0">
                <a:solidFill>
                  <a:srgbClr val="FFFFFF"/>
                </a:solidFill>
                <a:latin typeface="Slate Pro" panose="02000506040000020004" pitchFamily="2" charset="0"/>
                <a:cs typeface="Arial"/>
                <a:sym typeface="Slate Pro" panose="02000506040000020004" pitchFamily="2" charset="0"/>
              </a:rPr>
              <a:t>you’ll</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spc="-20" dirty="0">
                <a:solidFill>
                  <a:srgbClr val="FFFFFF"/>
                </a:solidFill>
                <a:latin typeface="Slate Pro" panose="02000506040000020004" pitchFamily="2" charset="0"/>
                <a:cs typeface="Arial"/>
                <a:sym typeface="Slate Pro" panose="02000506040000020004" pitchFamily="2" charset="0"/>
              </a:rPr>
              <a:t>need </a:t>
            </a:r>
            <a:r>
              <a:rPr lang="en-US" sz="1400" dirty="0">
                <a:solidFill>
                  <a:srgbClr val="FFFFFF"/>
                </a:solidFill>
                <a:latin typeface="Slate Pro" panose="02000506040000020004" pitchFamily="2" charset="0"/>
                <a:cs typeface="Arial"/>
                <a:sym typeface="Slate Pro" panose="02000506040000020004" pitchFamily="2" charset="0"/>
              </a:rPr>
              <a:t>to</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spc="-10" dirty="0">
                <a:solidFill>
                  <a:srgbClr val="FFFFFF"/>
                </a:solidFill>
                <a:latin typeface="Slate Pro" panose="02000506040000020004" pitchFamily="2" charset="0"/>
                <a:cs typeface="Arial"/>
                <a:sym typeface="Slate Pro" panose="02000506040000020004" pitchFamily="2" charset="0"/>
              </a:rPr>
              <a:t>register</a:t>
            </a:r>
            <a:r>
              <a:rPr lang="en-US" sz="1400" spc="-20"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for</a:t>
            </a:r>
            <a:r>
              <a:rPr lang="en-US" sz="1400" spc="-15" dirty="0">
                <a:solidFill>
                  <a:srgbClr val="FFFFFF"/>
                </a:solidFill>
                <a:latin typeface="Slate Pro" panose="02000506040000020004" pitchFamily="2" charset="0"/>
                <a:cs typeface="Arial"/>
                <a:sym typeface="Slate Pro" panose="02000506040000020004" pitchFamily="2" charset="0"/>
              </a:rPr>
              <a:t> </a:t>
            </a:r>
            <a:r>
              <a:rPr lang="en-US" sz="1400" spc="-10" dirty="0">
                <a:solidFill>
                  <a:srgbClr val="FFFFFF"/>
                </a:solidFill>
                <a:latin typeface="Slate Pro" panose="02000506040000020004" pitchFamily="2" charset="0"/>
                <a:cs typeface="Arial"/>
                <a:sym typeface="Slate Pro" panose="02000506040000020004" pitchFamily="2" charset="0"/>
              </a:rPr>
              <a:t>an ACME Web Account</a:t>
            </a:r>
            <a:r>
              <a:rPr lang="en-US" sz="1400" spc="5" dirty="0">
                <a:solidFill>
                  <a:srgbClr val="FFFFFF"/>
                </a:solidFill>
                <a:latin typeface="Slate Pro" panose="02000506040000020004" pitchFamily="2" charset="0"/>
                <a:cs typeface="Arial"/>
                <a:sym typeface="Slate Pro" panose="02000506040000020004" pitchFamily="2" charset="0"/>
              </a:rPr>
              <a:t> </a:t>
            </a:r>
            <a:r>
              <a:rPr lang="en-US" sz="1400" dirty="0">
                <a:solidFill>
                  <a:srgbClr val="FFFFFF"/>
                </a:solidFill>
                <a:latin typeface="Slate Pro" panose="02000506040000020004" pitchFamily="2" charset="0"/>
                <a:cs typeface="Arial"/>
                <a:sym typeface="Slate Pro" panose="02000506040000020004" pitchFamily="2" charset="0"/>
              </a:rPr>
              <a:t>for</a:t>
            </a:r>
            <a:r>
              <a:rPr lang="en-US" sz="1400" spc="5" dirty="0">
                <a:solidFill>
                  <a:srgbClr val="FFFFFF"/>
                </a:solidFill>
                <a:latin typeface="Slate Pro" panose="02000506040000020004" pitchFamily="2" charset="0"/>
                <a:cs typeface="Arial"/>
                <a:sym typeface="Slate Pro" panose="02000506040000020004" pitchFamily="2" charset="0"/>
              </a:rPr>
              <a:t> </a:t>
            </a:r>
            <a:r>
              <a:rPr lang="en-US" sz="1400" spc="-10" dirty="0">
                <a:solidFill>
                  <a:srgbClr val="FFFFFF"/>
                </a:solidFill>
                <a:latin typeface="Slate Pro" panose="02000506040000020004" pitchFamily="2" charset="0"/>
                <a:cs typeface="Arial"/>
                <a:sym typeface="Slate Pro" panose="02000506040000020004" pitchFamily="2" charset="0"/>
              </a:rPr>
              <a:t>access.</a:t>
            </a:r>
            <a:endParaRPr lang="en-US" sz="1400" dirty="0">
              <a:latin typeface="Slate Pro" panose="02000506040000020004" pitchFamily="2" charset="0"/>
              <a:cs typeface="Arial"/>
              <a:sym typeface="Slate Pro" panose="02000506040000020004" pitchFamily="2" charset="0"/>
            </a:endParaRPr>
          </a:p>
          <a:p>
            <a:pPr marL="63500" marR="55880" algn="l">
              <a:lnSpc>
                <a:spcPct val="129200"/>
              </a:lnSpc>
              <a:spcBef>
                <a:spcPts val="565"/>
              </a:spcBef>
            </a:pPr>
            <a:r>
              <a:rPr lang="en-US" sz="1400" dirty="0">
                <a:solidFill>
                  <a:schemeClr val="bg1"/>
                </a:solidFill>
                <a:latin typeface="Slate Pro" panose="02000506040000020004" pitchFamily="2" charset="0"/>
                <a:cs typeface="Arial"/>
                <a:sym typeface="Slate Pro" panose="02000506040000020004" pitchFamily="2" charset="0"/>
              </a:rPr>
              <a:t>Visit</a:t>
            </a:r>
            <a:r>
              <a:rPr lang="en-US" sz="1400" spc="32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this link and</a:t>
            </a:r>
            <a:r>
              <a:rPr lang="en-US" sz="1400" spc="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follow</a:t>
            </a:r>
            <a:r>
              <a:rPr lang="en-US" sz="1400" spc="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the</a:t>
            </a:r>
            <a:r>
              <a:rPr lang="en-US" sz="1400" spc="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instructions</a:t>
            </a:r>
            <a:r>
              <a:rPr lang="en-US" sz="1400" spc="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to </a:t>
            </a:r>
            <a:r>
              <a:rPr lang="en-US" sz="1400" spc="-20" dirty="0">
                <a:solidFill>
                  <a:schemeClr val="bg1"/>
                </a:solidFill>
                <a:latin typeface="Slate Pro" panose="02000506040000020004" pitchFamily="2" charset="0"/>
                <a:cs typeface="Arial"/>
                <a:sym typeface="Slate Pro" panose="02000506040000020004" pitchFamily="2" charset="0"/>
              </a:rPr>
              <a:t>create</a:t>
            </a:r>
            <a:r>
              <a:rPr lang="en-US" sz="1400" spc="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your</a:t>
            </a:r>
            <a:r>
              <a:rPr lang="en-US" sz="1400" spc="5" dirty="0">
                <a:solidFill>
                  <a:schemeClr val="bg1"/>
                </a:solidFill>
                <a:latin typeface="Slate Pro" panose="02000506040000020004" pitchFamily="2" charset="0"/>
                <a:cs typeface="Arial"/>
                <a:sym typeface="Slate Pro" panose="02000506040000020004" pitchFamily="2" charset="0"/>
              </a:rPr>
              <a:t> Web A</a:t>
            </a:r>
            <a:r>
              <a:rPr lang="en-US" sz="1400" spc="-10" dirty="0">
                <a:solidFill>
                  <a:schemeClr val="bg1"/>
                </a:solidFill>
                <a:latin typeface="Slate Pro" panose="02000506040000020004" pitchFamily="2" charset="0"/>
                <a:cs typeface="Arial"/>
                <a:sym typeface="Slate Pro" panose="02000506040000020004" pitchFamily="2" charset="0"/>
              </a:rPr>
              <a:t>ccount.</a:t>
            </a:r>
            <a:r>
              <a:rPr lang="en-US" sz="1400" spc="5" dirty="0">
                <a:solidFill>
                  <a:schemeClr val="bg1"/>
                </a:solidFill>
                <a:latin typeface="Slate Pro" panose="02000506040000020004" pitchFamily="2" charset="0"/>
                <a:cs typeface="Arial"/>
                <a:sym typeface="Slate Pro" panose="02000506040000020004" pitchFamily="2" charset="0"/>
              </a:rPr>
              <a:t> </a:t>
            </a:r>
            <a:r>
              <a:rPr lang="en-US" sz="1400" spc="-20" dirty="0">
                <a:solidFill>
                  <a:schemeClr val="bg1"/>
                </a:solidFill>
                <a:latin typeface="Slate Pro" panose="02000506040000020004" pitchFamily="2" charset="0"/>
                <a:cs typeface="Arial"/>
                <a:sym typeface="Slate Pro" panose="02000506040000020004" pitchFamily="2" charset="0"/>
              </a:rPr>
              <a:t>Once </a:t>
            </a:r>
            <a:r>
              <a:rPr lang="en-US" sz="1400" dirty="0">
                <a:solidFill>
                  <a:schemeClr val="bg1"/>
                </a:solidFill>
                <a:latin typeface="Slate Pro" panose="02000506040000020004" pitchFamily="2" charset="0"/>
                <a:cs typeface="Arial"/>
                <a:sym typeface="Slate Pro" panose="02000506040000020004" pitchFamily="2" charset="0"/>
              </a:rPr>
              <a:t>you</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have</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an</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spc="-10" dirty="0">
                <a:solidFill>
                  <a:schemeClr val="bg1"/>
                </a:solidFill>
                <a:latin typeface="Slate Pro" panose="02000506040000020004" pitchFamily="2" charset="0"/>
                <a:cs typeface="Arial"/>
                <a:sym typeface="Slate Pro" panose="02000506040000020004" pitchFamily="2" charset="0"/>
              </a:rPr>
              <a:t>account,</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you</a:t>
            </a:r>
            <a:r>
              <a:rPr lang="en-US" sz="1400" spc="15" dirty="0">
                <a:solidFill>
                  <a:schemeClr val="bg1"/>
                </a:solidFill>
                <a:latin typeface="Slate Pro" panose="02000506040000020004" pitchFamily="2" charset="0"/>
                <a:cs typeface="Arial"/>
                <a:sym typeface="Slate Pro" panose="02000506040000020004" pitchFamily="2" charset="0"/>
              </a:rPr>
              <a:t> </a:t>
            </a:r>
            <a:r>
              <a:rPr lang="en-US" sz="1400" spc="-10" dirty="0">
                <a:solidFill>
                  <a:schemeClr val="bg1"/>
                </a:solidFill>
                <a:latin typeface="Slate Pro" panose="02000506040000020004" pitchFamily="2" charset="0"/>
                <a:cs typeface="Arial"/>
                <a:sym typeface="Slate Pro" panose="02000506040000020004" pitchFamily="2" charset="0"/>
              </a:rPr>
              <a:t>can</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spc="-10" dirty="0">
                <a:solidFill>
                  <a:schemeClr val="bg1"/>
                </a:solidFill>
                <a:latin typeface="Slate Pro" panose="02000506040000020004" pitchFamily="2" charset="0"/>
                <a:cs typeface="Arial"/>
                <a:sym typeface="Slate Pro" panose="02000506040000020004" pitchFamily="2" charset="0"/>
              </a:rPr>
              <a:t>use</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your</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login</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to</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spc="-30" dirty="0">
                <a:solidFill>
                  <a:schemeClr val="bg1"/>
                </a:solidFill>
                <a:latin typeface="Slate Pro" panose="02000506040000020004" pitchFamily="2" charset="0"/>
                <a:cs typeface="Arial"/>
                <a:sym typeface="Slate Pro" panose="02000506040000020004" pitchFamily="2" charset="0"/>
              </a:rPr>
              <a:t>access</a:t>
            </a:r>
            <a:r>
              <a:rPr lang="en-US" sz="1400" spc="1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all</a:t>
            </a:r>
            <a:r>
              <a:rPr lang="en-US" sz="1400" spc="10" dirty="0">
                <a:solidFill>
                  <a:schemeClr val="bg1"/>
                </a:solidFill>
                <a:latin typeface="Slate Pro" panose="02000506040000020004" pitchFamily="2" charset="0"/>
                <a:cs typeface="Arial"/>
                <a:sym typeface="Slate Pro" panose="02000506040000020004" pitchFamily="2" charset="0"/>
              </a:rPr>
              <a:t> </a:t>
            </a:r>
            <a:r>
              <a:rPr lang="en-US" sz="1400" spc="-10" dirty="0">
                <a:solidFill>
                  <a:schemeClr val="bg1"/>
                </a:solidFill>
                <a:latin typeface="Slate Pro" panose="02000506040000020004" pitchFamily="2" charset="0"/>
                <a:cs typeface="Arial"/>
                <a:sym typeface="Slate Pro" panose="02000506040000020004" pitchFamily="2" charset="0"/>
              </a:rPr>
              <a:t>ACME </a:t>
            </a:r>
            <a:r>
              <a:rPr lang="en-US" sz="1400" dirty="0">
                <a:solidFill>
                  <a:schemeClr val="bg1"/>
                </a:solidFill>
                <a:latin typeface="Slate Pro" panose="02000506040000020004" pitchFamily="2" charset="0"/>
                <a:cs typeface="Arial"/>
                <a:sym typeface="Slate Pro" panose="02000506040000020004" pitchFamily="2" charset="0"/>
              </a:rPr>
              <a:t>properties</a:t>
            </a:r>
            <a:r>
              <a:rPr lang="en-US" sz="1400" spc="25"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including</a:t>
            </a:r>
            <a:r>
              <a:rPr lang="en-US" sz="1400" spc="30" dirty="0">
                <a:solidFill>
                  <a:schemeClr val="bg1"/>
                </a:solidFill>
                <a:latin typeface="Slate Pro" panose="02000506040000020004" pitchFamily="2" charset="0"/>
                <a:cs typeface="Arial"/>
                <a:sym typeface="Slate Pro" panose="02000506040000020004" pitchFamily="2" charset="0"/>
              </a:rPr>
              <a:t> </a:t>
            </a:r>
            <a:r>
              <a:rPr lang="en-US" sz="1400" dirty="0">
                <a:solidFill>
                  <a:schemeClr val="bg1"/>
                </a:solidFill>
                <a:latin typeface="Slate Pro" panose="02000506040000020004" pitchFamily="2" charset="0"/>
                <a:cs typeface="Arial"/>
                <a:sym typeface="Slate Pro" panose="02000506040000020004" pitchFamily="2" charset="0"/>
              </a:rPr>
              <a:t>the</a:t>
            </a:r>
            <a:r>
              <a:rPr lang="en-US" sz="1400" spc="30" dirty="0">
                <a:solidFill>
                  <a:schemeClr val="bg1"/>
                </a:solidFill>
                <a:latin typeface="Slate Pro" panose="02000506040000020004" pitchFamily="2" charset="0"/>
                <a:cs typeface="Arial"/>
                <a:sym typeface="Slate Pro" panose="02000506040000020004" pitchFamily="2" charset="0"/>
              </a:rPr>
              <a:t> </a:t>
            </a:r>
            <a:r>
              <a:rPr lang="en-US" sz="1400" spc="-20" dirty="0">
                <a:solidFill>
                  <a:schemeClr val="bg1"/>
                </a:solidFill>
                <a:latin typeface="Slate Pro" panose="02000506040000020004" pitchFamily="2" charset="0"/>
                <a:cs typeface="Arial"/>
                <a:sym typeface="Slate Pro" panose="02000506040000020004" pitchFamily="2" charset="0"/>
              </a:rPr>
              <a:t>Partner</a:t>
            </a:r>
            <a:r>
              <a:rPr lang="en-US" sz="1400" spc="30" dirty="0">
                <a:solidFill>
                  <a:schemeClr val="bg1"/>
                </a:solidFill>
                <a:latin typeface="Slate Pro" panose="02000506040000020004" pitchFamily="2" charset="0"/>
                <a:cs typeface="Arial"/>
                <a:sym typeface="Slate Pro" panose="02000506040000020004" pitchFamily="2" charset="0"/>
              </a:rPr>
              <a:t> </a:t>
            </a:r>
            <a:r>
              <a:rPr lang="en-US" sz="1400" spc="-10" dirty="0">
                <a:solidFill>
                  <a:schemeClr val="bg1"/>
                </a:solidFill>
                <a:latin typeface="Slate Pro" panose="02000506040000020004" pitchFamily="2" charset="0"/>
                <a:cs typeface="Arial"/>
                <a:sym typeface="Slate Pro" panose="02000506040000020004" pitchFamily="2" charset="0"/>
              </a:rPr>
              <a:t>Portal</a:t>
            </a:r>
            <a:endParaRPr lang="en-US" sz="1400" dirty="0">
              <a:solidFill>
                <a:schemeClr val="bg1"/>
              </a:solidFill>
              <a:latin typeface="Slate Pro" panose="02000506040000020004" pitchFamily="2" charset="0"/>
              <a:cs typeface="Arial"/>
              <a:sym typeface="Slate Pro" panose="02000506040000020004" pitchFamily="2" charset="0"/>
            </a:endParaRPr>
          </a:p>
        </p:txBody>
      </p:sp>
      <p:sp>
        <p:nvSpPr>
          <p:cNvPr id="27" name="object 27"/>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4</a:t>
            </a:fld>
            <a:endParaRPr spc="-25"/>
          </a:p>
        </p:txBody>
      </p:sp>
      <p:sp>
        <p:nvSpPr>
          <p:cNvPr id="24" name="TextBox 23">
            <a:extLst>
              <a:ext uri="{FF2B5EF4-FFF2-40B4-BE49-F238E27FC236}">
                <a16:creationId xmlns:a16="http://schemas.microsoft.com/office/drawing/2014/main" id="{DD2E30B2-5D31-A725-E7FA-815631A09187}"/>
              </a:ext>
            </a:extLst>
          </p:cNvPr>
          <p:cNvSpPr txBox="1"/>
          <p:nvPr/>
        </p:nvSpPr>
        <p:spPr>
          <a:xfrm>
            <a:off x="4983049" y="328452"/>
            <a:ext cx="5345722" cy="584775"/>
          </a:xfrm>
          <a:prstGeom prst="rect">
            <a:avLst/>
          </a:prstGeom>
          <a:noFill/>
        </p:spPr>
        <p:txBody>
          <a:bodyPr wrap="square">
            <a:spAutoFit/>
          </a:bodyPr>
          <a:lstStyle/>
          <a:p>
            <a:r>
              <a:rPr lang="en-US" sz="3200" dirty="0">
                <a:solidFill>
                  <a:srgbClr val="FFFFFF"/>
                </a:solidFill>
                <a:latin typeface="Slate Pro" panose="02000506040000020004" pitchFamily="2" charset="0"/>
                <a:sym typeface="Slate Pro" panose="02000506040000020004" pitchFamily="2" charset="0"/>
              </a:rPr>
              <a:t>Table of Contents</a:t>
            </a:r>
            <a:endParaRPr lang="en-US" sz="3200" dirty="0">
              <a:latin typeface="Slate Pro" panose="02000506040000020004" pitchFamily="2" charset="0"/>
              <a:sym typeface="Slate Pro" panose="02000506040000020004" pitchFamily="2" charset="0"/>
            </a:endParaRPr>
          </a:p>
        </p:txBody>
      </p:sp>
      <p:grpSp>
        <p:nvGrpSpPr>
          <p:cNvPr id="50" name="Group 49">
            <a:extLst>
              <a:ext uri="{FF2B5EF4-FFF2-40B4-BE49-F238E27FC236}">
                <a16:creationId xmlns:a16="http://schemas.microsoft.com/office/drawing/2014/main" id="{4BEDFBFA-EA88-A0AE-9CAA-C2A8E37F1FD1}"/>
              </a:ext>
            </a:extLst>
          </p:cNvPr>
          <p:cNvGrpSpPr/>
          <p:nvPr/>
        </p:nvGrpSpPr>
        <p:grpSpPr>
          <a:xfrm>
            <a:off x="5071114" y="2854876"/>
            <a:ext cx="4885494" cy="3252514"/>
            <a:chOff x="5069956" y="3090030"/>
            <a:chExt cx="5363932" cy="3571031"/>
          </a:xfrm>
        </p:grpSpPr>
        <p:sp>
          <p:nvSpPr>
            <p:cNvPr id="26" name="TextBox 25">
              <a:extLst>
                <a:ext uri="{FF2B5EF4-FFF2-40B4-BE49-F238E27FC236}">
                  <a16:creationId xmlns:a16="http://schemas.microsoft.com/office/drawing/2014/main" id="{CADABF5F-7B4B-EBA4-F552-3621C2856397}"/>
                </a:ext>
              </a:extLst>
            </p:cNvPr>
            <p:cNvSpPr txBox="1"/>
            <p:nvPr/>
          </p:nvSpPr>
          <p:spPr>
            <a:xfrm>
              <a:off x="5082955" y="3090030"/>
              <a:ext cx="5350933" cy="337919"/>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3	</a:t>
              </a:r>
            </a:p>
          </p:txBody>
        </p:sp>
        <p:sp>
          <p:nvSpPr>
            <p:cNvPr id="35" name="TextBox 34">
              <a:extLst>
                <a:ext uri="{FF2B5EF4-FFF2-40B4-BE49-F238E27FC236}">
                  <a16:creationId xmlns:a16="http://schemas.microsoft.com/office/drawing/2014/main" id="{AC5AA51C-0AFB-4E20-0A80-33A72FC2FFE2}"/>
                </a:ext>
              </a:extLst>
            </p:cNvPr>
            <p:cNvSpPr txBox="1"/>
            <p:nvPr/>
          </p:nvSpPr>
          <p:spPr>
            <a:xfrm>
              <a:off x="5082955" y="3445916"/>
              <a:ext cx="5350933" cy="337919"/>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4	</a:t>
              </a:r>
            </a:p>
          </p:txBody>
        </p:sp>
        <p:sp>
          <p:nvSpPr>
            <p:cNvPr id="36" name="TextBox 35">
              <a:extLst>
                <a:ext uri="{FF2B5EF4-FFF2-40B4-BE49-F238E27FC236}">
                  <a16:creationId xmlns:a16="http://schemas.microsoft.com/office/drawing/2014/main" id="{88FD6AEA-3E69-A240-83D8-94C90ACAC1FB}"/>
                </a:ext>
              </a:extLst>
            </p:cNvPr>
            <p:cNvSpPr txBox="1"/>
            <p:nvPr/>
          </p:nvSpPr>
          <p:spPr>
            <a:xfrm>
              <a:off x="5082955" y="3801802"/>
              <a:ext cx="5350933" cy="337919"/>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5	</a:t>
              </a:r>
            </a:p>
          </p:txBody>
        </p:sp>
        <p:sp>
          <p:nvSpPr>
            <p:cNvPr id="37" name="TextBox 36">
              <a:extLst>
                <a:ext uri="{FF2B5EF4-FFF2-40B4-BE49-F238E27FC236}">
                  <a16:creationId xmlns:a16="http://schemas.microsoft.com/office/drawing/2014/main" id="{B7F65384-A458-2C57-3454-AF5E4BC4B234}"/>
                </a:ext>
              </a:extLst>
            </p:cNvPr>
            <p:cNvSpPr txBox="1"/>
            <p:nvPr/>
          </p:nvSpPr>
          <p:spPr>
            <a:xfrm>
              <a:off x="5082955" y="4157688"/>
              <a:ext cx="5350933" cy="337919"/>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6	</a:t>
              </a:r>
            </a:p>
          </p:txBody>
        </p:sp>
        <p:sp>
          <p:nvSpPr>
            <p:cNvPr id="38" name="TextBox 37">
              <a:extLst>
                <a:ext uri="{FF2B5EF4-FFF2-40B4-BE49-F238E27FC236}">
                  <a16:creationId xmlns:a16="http://schemas.microsoft.com/office/drawing/2014/main" id="{4FA3F7EB-D861-FD0C-C5A6-233ED0D9322E}"/>
                </a:ext>
              </a:extLst>
            </p:cNvPr>
            <p:cNvSpPr txBox="1"/>
            <p:nvPr/>
          </p:nvSpPr>
          <p:spPr>
            <a:xfrm>
              <a:off x="5082955" y="4513574"/>
              <a:ext cx="5350933" cy="337919"/>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7	</a:t>
              </a:r>
            </a:p>
          </p:txBody>
        </p:sp>
        <p:sp>
          <p:nvSpPr>
            <p:cNvPr id="41" name="TextBox 40">
              <a:extLst>
                <a:ext uri="{FF2B5EF4-FFF2-40B4-BE49-F238E27FC236}">
                  <a16:creationId xmlns:a16="http://schemas.microsoft.com/office/drawing/2014/main" id="{7265BDED-AE52-47C8-2ECF-A327BB9F3A2D}"/>
                </a:ext>
              </a:extLst>
            </p:cNvPr>
            <p:cNvSpPr txBox="1"/>
            <p:nvPr/>
          </p:nvSpPr>
          <p:spPr>
            <a:xfrm>
              <a:off x="5069956" y="4893399"/>
              <a:ext cx="5350933" cy="337919"/>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13	</a:t>
              </a:r>
            </a:p>
          </p:txBody>
        </p:sp>
        <p:sp>
          <p:nvSpPr>
            <p:cNvPr id="43" name="TextBox 42">
              <a:extLst>
                <a:ext uri="{FF2B5EF4-FFF2-40B4-BE49-F238E27FC236}">
                  <a16:creationId xmlns:a16="http://schemas.microsoft.com/office/drawing/2014/main" id="{DEB5AE17-9BE8-804B-6A69-FA3B0C308DCC}"/>
                </a:ext>
              </a:extLst>
            </p:cNvPr>
            <p:cNvSpPr txBox="1"/>
            <p:nvPr/>
          </p:nvSpPr>
          <p:spPr>
            <a:xfrm>
              <a:off x="5082955" y="5267231"/>
              <a:ext cx="5350933" cy="337917"/>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14	</a:t>
              </a:r>
            </a:p>
          </p:txBody>
        </p:sp>
        <p:sp>
          <p:nvSpPr>
            <p:cNvPr id="54" name="TextBox 53">
              <a:extLst>
                <a:ext uri="{FF2B5EF4-FFF2-40B4-BE49-F238E27FC236}">
                  <a16:creationId xmlns:a16="http://schemas.microsoft.com/office/drawing/2014/main" id="{76ABDDFF-87F5-B4E0-B011-7DE8314E5286}"/>
                </a:ext>
              </a:extLst>
            </p:cNvPr>
            <p:cNvSpPr txBox="1"/>
            <p:nvPr/>
          </p:nvSpPr>
          <p:spPr>
            <a:xfrm>
              <a:off x="5082955" y="5623113"/>
              <a:ext cx="5350933" cy="337917"/>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17	</a:t>
              </a:r>
            </a:p>
          </p:txBody>
        </p:sp>
        <p:sp>
          <p:nvSpPr>
            <p:cNvPr id="14" name="TextBox 13">
              <a:extLst>
                <a:ext uri="{FF2B5EF4-FFF2-40B4-BE49-F238E27FC236}">
                  <a16:creationId xmlns:a16="http://schemas.microsoft.com/office/drawing/2014/main" id="{30F6EB52-82B5-8BC6-4322-9EAEE3FE9EF6}"/>
                </a:ext>
              </a:extLst>
            </p:cNvPr>
            <p:cNvSpPr txBox="1"/>
            <p:nvPr/>
          </p:nvSpPr>
          <p:spPr>
            <a:xfrm>
              <a:off x="5069956" y="5973986"/>
              <a:ext cx="5350933" cy="337917"/>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21</a:t>
              </a:r>
            </a:p>
          </p:txBody>
        </p:sp>
        <p:sp>
          <p:nvSpPr>
            <p:cNvPr id="15" name="TextBox 14">
              <a:extLst>
                <a:ext uri="{FF2B5EF4-FFF2-40B4-BE49-F238E27FC236}">
                  <a16:creationId xmlns:a16="http://schemas.microsoft.com/office/drawing/2014/main" id="{1A4337C6-5752-443C-6A45-3761031665E8}"/>
                </a:ext>
              </a:extLst>
            </p:cNvPr>
            <p:cNvSpPr txBox="1"/>
            <p:nvPr/>
          </p:nvSpPr>
          <p:spPr>
            <a:xfrm>
              <a:off x="5069956" y="6323144"/>
              <a:ext cx="5350933" cy="337917"/>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rPr>
                <a:t>23</a:t>
              </a:r>
            </a:p>
          </p:txBody>
        </p:sp>
      </p:grpSp>
      <p:grpSp>
        <p:nvGrpSpPr>
          <p:cNvPr id="49" name="Group 48">
            <a:extLst>
              <a:ext uri="{FF2B5EF4-FFF2-40B4-BE49-F238E27FC236}">
                <a16:creationId xmlns:a16="http://schemas.microsoft.com/office/drawing/2014/main" id="{F4E3AA2C-0265-0FB2-9502-E19A55EA631D}"/>
              </a:ext>
            </a:extLst>
          </p:cNvPr>
          <p:cNvGrpSpPr/>
          <p:nvPr/>
        </p:nvGrpSpPr>
        <p:grpSpPr>
          <a:xfrm>
            <a:off x="5651552" y="2872902"/>
            <a:ext cx="4880677" cy="3236498"/>
            <a:chOff x="-1892560" y="2193592"/>
            <a:chExt cx="5350934" cy="3548337"/>
          </a:xfrm>
        </p:grpSpPr>
        <p:sp>
          <p:nvSpPr>
            <p:cNvPr id="2" name="TextBox 1">
              <a:extLst>
                <a:ext uri="{FF2B5EF4-FFF2-40B4-BE49-F238E27FC236}">
                  <a16:creationId xmlns:a16="http://schemas.microsoft.com/office/drawing/2014/main" id="{72B0C202-313F-B951-7B3A-C2342964957D}"/>
                </a:ext>
              </a:extLst>
            </p:cNvPr>
            <p:cNvSpPr txBox="1"/>
            <p:nvPr/>
          </p:nvSpPr>
          <p:spPr>
            <a:xfrm>
              <a:off x="-1892558" y="2193592"/>
              <a:ext cx="5350932" cy="337432"/>
            </a:xfrm>
            <a:prstGeom prst="rect">
              <a:avLst/>
            </a:prstGeom>
            <a:noFill/>
          </p:spPr>
          <p:txBody>
            <a:bodyPr wrap="square">
              <a:spAutoFit/>
            </a:bodyPr>
            <a:lstStyle/>
            <a:p>
              <a:pPr algn="l"/>
              <a:r>
                <a:rPr lang="en-US" sz="1400" u="sng">
                  <a:solidFill>
                    <a:schemeClr val="bg1"/>
                  </a:solidFill>
                  <a:latin typeface="Slate Pro" panose="02000506040000020004" pitchFamily="2" charset="0"/>
                  <a:sym typeface="Slate Pro" panose="02000506040000020004" pitchFamily="2" charset="0"/>
                  <a:hlinkClick r:id="rId6" action="ppaction://hlinksldjump">
                    <a:extLst>
                      <a:ext uri="{A12FA001-AC4F-418D-AE19-62706E023703}">
                        <ahyp:hlinkClr xmlns:ahyp="http://schemas.microsoft.com/office/drawing/2018/hyperlinkcolor" val="tx"/>
                      </a:ext>
                    </a:extLst>
                  </a:hlinkClick>
                </a:rPr>
                <a:t>Welcome to the ACME Partner Program</a:t>
              </a:r>
              <a:endParaRPr lang="en-US" sz="1400" u="sng">
                <a:solidFill>
                  <a:schemeClr val="bg1"/>
                </a:solidFill>
                <a:latin typeface="Slate Pro" panose="02000506040000020004" pitchFamily="2" charset="0"/>
                <a:sym typeface="Slate Pro" panose="02000506040000020004" pitchFamily="2" charset="0"/>
              </a:endParaRPr>
            </a:p>
          </p:txBody>
        </p:sp>
        <p:sp>
          <p:nvSpPr>
            <p:cNvPr id="4" name="TextBox 3">
              <a:extLst>
                <a:ext uri="{FF2B5EF4-FFF2-40B4-BE49-F238E27FC236}">
                  <a16:creationId xmlns:a16="http://schemas.microsoft.com/office/drawing/2014/main" id="{12369951-705D-9135-8071-096C239073B6}"/>
                </a:ext>
              </a:extLst>
            </p:cNvPr>
            <p:cNvSpPr txBox="1"/>
            <p:nvPr/>
          </p:nvSpPr>
          <p:spPr>
            <a:xfrm>
              <a:off x="-1892559" y="2550268"/>
              <a:ext cx="5350932" cy="337432"/>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hlinkClick r:id="rId7" action="ppaction://hlinksldjump">
                    <a:extLst>
                      <a:ext uri="{A12FA001-AC4F-418D-AE19-62706E023703}">
                        <ahyp:hlinkClr xmlns:ahyp="http://schemas.microsoft.com/office/drawing/2018/hyperlinkcolor" val="tx"/>
                      </a:ext>
                    </a:extLst>
                  </a:hlinkClick>
                </a:rPr>
                <a:t>Partner Portal</a:t>
              </a:r>
              <a:endParaRPr lang="en-US" sz="1400">
                <a:solidFill>
                  <a:schemeClr val="bg1"/>
                </a:solidFill>
                <a:latin typeface="Slate Pro" panose="02000506040000020004" pitchFamily="2" charset="0"/>
                <a:sym typeface="Slate Pro" panose="02000506040000020004" pitchFamily="2" charset="0"/>
              </a:endParaRPr>
            </a:p>
          </p:txBody>
        </p:sp>
        <p:sp>
          <p:nvSpPr>
            <p:cNvPr id="5" name="TextBox 4">
              <a:extLst>
                <a:ext uri="{FF2B5EF4-FFF2-40B4-BE49-F238E27FC236}">
                  <a16:creationId xmlns:a16="http://schemas.microsoft.com/office/drawing/2014/main" id="{4557458E-22DE-AFE2-CF0C-DC6AC5067400}"/>
                </a:ext>
              </a:extLst>
            </p:cNvPr>
            <p:cNvSpPr txBox="1"/>
            <p:nvPr/>
          </p:nvSpPr>
          <p:spPr>
            <a:xfrm>
              <a:off x="-1892559" y="2906944"/>
              <a:ext cx="5350932" cy="337432"/>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hlinkClick r:id="rId8" action="ppaction://hlinksldjump">
                    <a:extLst>
                      <a:ext uri="{A12FA001-AC4F-418D-AE19-62706E023703}">
                        <ahyp:hlinkClr xmlns:ahyp="http://schemas.microsoft.com/office/drawing/2018/hyperlinkcolor" val="tx"/>
                      </a:ext>
                    </a:extLst>
                  </a:hlinkClick>
                </a:rPr>
                <a:t>Partner Types</a:t>
              </a:r>
              <a:endParaRPr lang="en-US" sz="1400">
                <a:solidFill>
                  <a:schemeClr val="bg1"/>
                </a:solidFill>
                <a:latin typeface="Slate Pro" panose="02000506040000020004" pitchFamily="2" charset="0"/>
                <a:sym typeface="Slate Pro" panose="02000506040000020004" pitchFamily="2" charset="0"/>
              </a:endParaRPr>
            </a:p>
          </p:txBody>
        </p:sp>
        <p:sp>
          <p:nvSpPr>
            <p:cNvPr id="6" name="TextBox 5">
              <a:extLst>
                <a:ext uri="{FF2B5EF4-FFF2-40B4-BE49-F238E27FC236}">
                  <a16:creationId xmlns:a16="http://schemas.microsoft.com/office/drawing/2014/main" id="{4ABFD85D-6E08-28A6-6BC3-541AA530E6EC}"/>
                </a:ext>
              </a:extLst>
            </p:cNvPr>
            <p:cNvSpPr txBox="1"/>
            <p:nvPr/>
          </p:nvSpPr>
          <p:spPr>
            <a:xfrm>
              <a:off x="-1892559" y="3263619"/>
              <a:ext cx="5350932" cy="337432"/>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hlinkClick r:id="rId9" action="ppaction://hlinksldjump">
                    <a:extLst>
                      <a:ext uri="{A12FA001-AC4F-418D-AE19-62706E023703}">
                        <ahyp:hlinkClr xmlns:ahyp="http://schemas.microsoft.com/office/drawing/2018/hyperlinkcolor" val="tx"/>
                      </a:ext>
                    </a:extLst>
                  </a:hlinkClick>
                </a:rPr>
                <a:t>Path to Partnership</a:t>
              </a:r>
              <a:endParaRPr lang="en-US" sz="1400">
                <a:solidFill>
                  <a:schemeClr val="bg1"/>
                </a:solidFill>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4CB8D633-4D31-0A30-DD1F-3A382B865AD4}"/>
                </a:ext>
              </a:extLst>
            </p:cNvPr>
            <p:cNvSpPr txBox="1"/>
            <p:nvPr/>
          </p:nvSpPr>
          <p:spPr>
            <a:xfrm>
              <a:off x="-1892559" y="3620295"/>
              <a:ext cx="5350932" cy="337432"/>
            </a:xfrm>
            <a:prstGeom prst="rect">
              <a:avLst/>
            </a:prstGeom>
            <a:noFill/>
          </p:spPr>
          <p:txBody>
            <a:bodyPr wrap="square">
              <a:spAutoFit/>
            </a:bodyPr>
            <a:lstStyle/>
            <a:p>
              <a:pPr algn="l"/>
              <a:r>
                <a:rPr lang="en-US" sz="1400" dirty="0">
                  <a:solidFill>
                    <a:schemeClr val="bg1"/>
                  </a:solidFill>
                  <a:latin typeface="Slate Pro" panose="02000506040000020004" pitchFamily="2" charset="0"/>
                  <a:sym typeface="Slate Pro" panose="02000506040000020004" pitchFamily="2" charset="0"/>
                  <a:hlinkClick r:id="rId10" action="ppaction://hlinksldjump">
                    <a:extLst>
                      <a:ext uri="{A12FA001-AC4F-418D-AE19-62706E023703}">
                        <ahyp:hlinkClr xmlns:ahyp="http://schemas.microsoft.com/office/drawing/2018/hyperlinkcolor" val="tx"/>
                      </a:ext>
                    </a:extLst>
                  </a:hlinkClick>
                </a:rPr>
                <a:t>Program </a:t>
              </a:r>
              <a:r>
                <a:rPr lang="en-US" sz="1400" u="sng" dirty="0">
                  <a:solidFill>
                    <a:schemeClr val="bg1"/>
                  </a:solidFill>
                  <a:latin typeface="Slate Pro" panose="02000506040000020004" pitchFamily="2" charset="0"/>
                  <a:sym typeface="Slate Pro" panose="02000506040000020004" pitchFamily="2" charset="0"/>
                  <a:hlinkClick r:id="rId10" action="ppaction://hlinksldjump">
                    <a:extLst>
                      <a:ext uri="{A12FA001-AC4F-418D-AE19-62706E023703}">
                        <ahyp:hlinkClr xmlns:ahyp="http://schemas.microsoft.com/office/drawing/2018/hyperlinkcolor" val="tx"/>
                      </a:ext>
                    </a:extLst>
                  </a:hlinkClick>
                </a:rPr>
                <a:t>Benefits &amp; Requirements</a:t>
              </a:r>
              <a:endParaRPr lang="en-US" sz="1400" u="sng" dirty="0">
                <a:solidFill>
                  <a:schemeClr val="bg1"/>
                </a:solidFill>
                <a:latin typeface="Slate Pro" panose="02000506040000020004" pitchFamily="2" charset="0"/>
                <a:sym typeface="Slate Pro" panose="02000506040000020004" pitchFamily="2" charset="0"/>
              </a:endParaRPr>
            </a:p>
          </p:txBody>
        </p:sp>
        <p:sp>
          <p:nvSpPr>
            <p:cNvPr id="47" name="TextBox 46">
              <a:extLst>
                <a:ext uri="{FF2B5EF4-FFF2-40B4-BE49-F238E27FC236}">
                  <a16:creationId xmlns:a16="http://schemas.microsoft.com/office/drawing/2014/main" id="{31AEFBA5-C62C-39BA-3817-E06ACF09B794}"/>
                </a:ext>
              </a:extLst>
            </p:cNvPr>
            <p:cNvSpPr txBox="1"/>
            <p:nvPr/>
          </p:nvSpPr>
          <p:spPr>
            <a:xfrm>
              <a:off x="-1892559" y="4333647"/>
              <a:ext cx="5350932" cy="337432"/>
            </a:xfrm>
            <a:prstGeom prst="rect">
              <a:avLst/>
            </a:prstGeom>
            <a:noFill/>
          </p:spPr>
          <p:txBody>
            <a:bodyPr wrap="square">
              <a:spAutoFit/>
            </a:bodyPr>
            <a:lstStyle/>
            <a:p>
              <a:pPr algn="l"/>
              <a:r>
                <a:rPr lang="en-US" sz="1400" u="sng">
                  <a:solidFill>
                    <a:schemeClr val="bg1"/>
                  </a:solidFill>
                  <a:latin typeface="Slate Pro" panose="02000506040000020004" pitchFamily="2" charset="0"/>
                  <a:sym typeface="Slate Pro" panose="02000506040000020004" pitchFamily="2" charset="0"/>
                  <a:hlinkClick r:id="rId11" action="ppaction://hlinksldjump">
                    <a:extLst>
                      <a:ext uri="{A12FA001-AC4F-418D-AE19-62706E023703}">
                        <ahyp:hlinkClr xmlns:ahyp="http://schemas.microsoft.com/office/drawing/2018/hyperlinkcolor" val="tx"/>
                      </a:ext>
                    </a:extLst>
                  </a:hlinkClick>
                </a:rPr>
                <a:t>Resources for Partners</a:t>
              </a:r>
              <a:endParaRPr lang="en-US" sz="1400" u="sng">
                <a:solidFill>
                  <a:schemeClr val="bg1"/>
                </a:solidFill>
                <a:latin typeface="Slate Pro" panose="02000506040000020004" pitchFamily="2" charset="0"/>
                <a:sym typeface="Slate Pro" panose="02000506040000020004" pitchFamily="2" charset="0"/>
              </a:endParaRPr>
            </a:p>
          </p:txBody>
        </p:sp>
        <p:sp>
          <p:nvSpPr>
            <p:cNvPr id="48" name="TextBox 47">
              <a:extLst>
                <a:ext uri="{FF2B5EF4-FFF2-40B4-BE49-F238E27FC236}">
                  <a16:creationId xmlns:a16="http://schemas.microsoft.com/office/drawing/2014/main" id="{39DF1762-7C1D-729F-D248-27B0916B551F}"/>
                </a:ext>
              </a:extLst>
            </p:cNvPr>
            <p:cNvSpPr txBox="1"/>
            <p:nvPr/>
          </p:nvSpPr>
          <p:spPr>
            <a:xfrm>
              <a:off x="-1892560" y="4690323"/>
              <a:ext cx="5350932" cy="337432"/>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hlinkClick r:id="rId12" action="ppaction://hlinksldjump">
                    <a:extLst>
                      <a:ext uri="{A12FA001-AC4F-418D-AE19-62706E023703}">
                        <ahyp:hlinkClr xmlns:ahyp="http://schemas.microsoft.com/office/drawing/2018/hyperlinkcolor" val="tx"/>
                      </a:ext>
                    </a:extLst>
                  </a:hlinkClick>
                </a:rPr>
                <a:t>Sales Training &amp; Enablement</a:t>
              </a:r>
              <a:endParaRPr lang="en-US" sz="140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917D10A-69CC-AFE7-322D-20294EAE25D5}"/>
                </a:ext>
              </a:extLst>
            </p:cNvPr>
            <p:cNvSpPr txBox="1"/>
            <p:nvPr/>
          </p:nvSpPr>
          <p:spPr>
            <a:xfrm>
              <a:off x="-1892560" y="5046996"/>
              <a:ext cx="5350932" cy="337432"/>
            </a:xfrm>
            <a:prstGeom prst="rect">
              <a:avLst/>
            </a:prstGeom>
            <a:noFill/>
          </p:spPr>
          <p:txBody>
            <a:bodyPr wrap="square">
              <a:spAutoFit/>
            </a:bodyPr>
            <a:lstStyle/>
            <a:p>
              <a:pPr algn="l"/>
              <a:r>
                <a:rPr lang="en-US" sz="1400" u="sng">
                  <a:solidFill>
                    <a:schemeClr val="bg1"/>
                  </a:solidFill>
                  <a:latin typeface="Slate Pro" panose="02000506040000020004" pitchFamily="2" charset="0"/>
                  <a:sym typeface="Slate Pro" panose="02000506040000020004" pitchFamily="2" charset="0"/>
                  <a:hlinkClick r:id="rId13" action="ppaction://hlinksldjump">
                    <a:extLst>
                      <a:ext uri="{A12FA001-AC4F-418D-AE19-62706E023703}">
                        <ahyp:hlinkClr xmlns:ahyp="http://schemas.microsoft.com/office/drawing/2018/hyperlinkcolor" val="tx"/>
                      </a:ext>
                    </a:extLst>
                  </a:hlinkClick>
                </a:rPr>
                <a:t>Technical Certifications</a:t>
              </a:r>
              <a:endParaRPr lang="en-US" sz="1400" u="sng">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AAD4FB45-FCA4-1F51-7874-9D25CA151CF4}"/>
                </a:ext>
              </a:extLst>
            </p:cNvPr>
            <p:cNvSpPr txBox="1"/>
            <p:nvPr/>
          </p:nvSpPr>
          <p:spPr>
            <a:xfrm>
              <a:off x="-1892559" y="3976971"/>
              <a:ext cx="5350932" cy="337432"/>
            </a:xfrm>
            <a:prstGeom prst="rect">
              <a:avLst/>
            </a:prstGeom>
            <a:noFill/>
          </p:spPr>
          <p:txBody>
            <a:bodyPr wrap="square">
              <a:spAutoFit/>
            </a:bodyPr>
            <a:lstStyle/>
            <a:p>
              <a:pPr algn="l"/>
              <a:r>
                <a:rPr lang="en-US" sz="1400">
                  <a:solidFill>
                    <a:schemeClr val="bg1"/>
                  </a:solidFill>
                  <a:latin typeface="Slate Pro" panose="02000506040000020004" pitchFamily="2" charset="0"/>
                  <a:sym typeface="Slate Pro" panose="02000506040000020004" pitchFamily="2" charset="0"/>
                  <a:hlinkClick r:id="rId14" action="ppaction://hlinksldjump">
                    <a:extLst>
                      <a:ext uri="{A12FA001-AC4F-418D-AE19-62706E023703}">
                        <ahyp:hlinkClr xmlns:ahyp="http://schemas.microsoft.com/office/drawing/2018/hyperlinkcolor" val="tx"/>
                      </a:ext>
                    </a:extLst>
                  </a:hlinkClick>
                </a:rPr>
                <a:t>Deal Registration</a:t>
              </a:r>
              <a:endParaRPr lang="en-US" sz="1400">
                <a:solidFill>
                  <a:schemeClr val="bg1"/>
                </a:solidFill>
                <a:latin typeface="Slate Pro" panose="02000506040000020004" pitchFamily="2" charset="0"/>
                <a:sym typeface="Slate Pro" panose="02000506040000020004" pitchFamily="2" charset="0"/>
              </a:endParaRPr>
            </a:p>
          </p:txBody>
        </p:sp>
        <p:sp>
          <p:nvSpPr>
            <p:cNvPr id="17" name="TextBox 16">
              <a:hlinkClick r:id="rId15" action="ppaction://hlinksldjump"/>
              <a:extLst>
                <a:ext uri="{FF2B5EF4-FFF2-40B4-BE49-F238E27FC236}">
                  <a16:creationId xmlns:a16="http://schemas.microsoft.com/office/drawing/2014/main" id="{E5B1ADF0-252B-A05D-C0CC-1026FE16CC5D}"/>
                </a:ext>
              </a:extLst>
            </p:cNvPr>
            <p:cNvSpPr txBox="1"/>
            <p:nvPr/>
          </p:nvSpPr>
          <p:spPr>
            <a:xfrm>
              <a:off x="-1892560" y="5404498"/>
              <a:ext cx="5350932" cy="337431"/>
            </a:xfrm>
            <a:prstGeom prst="rect">
              <a:avLst/>
            </a:prstGeom>
            <a:noFill/>
          </p:spPr>
          <p:txBody>
            <a:bodyPr wrap="square">
              <a:spAutoFit/>
            </a:bodyPr>
            <a:lstStyle/>
            <a:p>
              <a:pPr algn="l"/>
              <a:r>
                <a:rPr lang="en-US" sz="1400" u="sng">
                  <a:solidFill>
                    <a:schemeClr val="bg1"/>
                  </a:solidFill>
                  <a:latin typeface="Slate Pro" panose="02000506040000020004" pitchFamily="2" charset="0"/>
                  <a:sym typeface="Slate Pro" panose="02000506040000020004" pitchFamily="2" charset="0"/>
                  <a:hlinkClick r:id="rId15" action="ppaction://hlinksldjump">
                    <a:extLst>
                      <a:ext uri="{A12FA001-AC4F-418D-AE19-62706E023703}">
                        <ahyp:hlinkClr xmlns:ahyp="http://schemas.microsoft.com/office/drawing/2018/hyperlinkcolor" val="tx"/>
                      </a:ext>
                    </a:extLst>
                  </a:hlinkClick>
                </a:rPr>
                <a:t>Getting in Touch</a:t>
              </a:r>
              <a:endParaRPr lang="en-US" sz="1400" u="sng">
                <a:solidFill>
                  <a:schemeClr val="bg1"/>
                </a:solidFill>
                <a:latin typeface="Slate Pro" panose="02000506040000020004" pitchFamily="2" charset="0"/>
                <a:sym typeface="Slate Pro" panose="02000506040000020004" pitchFamily="2" charset="0"/>
              </a:endParaRPr>
            </a:p>
          </p:txBody>
        </p:sp>
      </p:grpSp>
      <p:sp>
        <p:nvSpPr>
          <p:cNvPr id="8" name="Holder 4">
            <a:extLst>
              <a:ext uri="{FF2B5EF4-FFF2-40B4-BE49-F238E27FC236}">
                <a16:creationId xmlns:a16="http://schemas.microsoft.com/office/drawing/2014/main" id="{18EA9597-5707-A383-601B-281D7BD7CC1B}"/>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F1EB62F-774B-A065-2173-834690E9B5B4}"/>
              </a:ext>
            </a:extLst>
          </p:cNvPr>
          <p:cNvGraphicFramePr>
            <a:graphicFrameLocks noChangeAspect="1"/>
          </p:cNvGraphicFramePr>
          <p:nvPr>
            <p:custDataLst>
              <p:tags r:id="rId1"/>
            </p:custDataLst>
            <p:extLst>
              <p:ext uri="{D42A27DB-BD31-4B8C-83A1-F6EECF244321}">
                <p14:modId xmlns:p14="http://schemas.microsoft.com/office/powerpoint/2010/main" val="3089268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Object 11" hidden="1">
                        <a:extLst>
                          <a:ext uri="{FF2B5EF4-FFF2-40B4-BE49-F238E27FC236}">
                            <a16:creationId xmlns:a16="http://schemas.microsoft.com/office/drawing/2014/main" id="{AF1EB62F-774B-A065-2173-834690E9B5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object 2"/>
          <p:cNvGrpSpPr/>
          <p:nvPr/>
        </p:nvGrpSpPr>
        <p:grpSpPr>
          <a:xfrm>
            <a:off x="201554" y="3914"/>
            <a:ext cx="10490436" cy="7068312"/>
            <a:chOff x="201554" y="3914"/>
            <a:chExt cx="10490436" cy="7068312"/>
          </a:xfrm>
        </p:grpSpPr>
        <p:pic>
          <p:nvPicPr>
            <p:cNvPr id="3" name="object 3"/>
            <p:cNvPicPr/>
            <p:nvPr/>
          </p:nvPicPr>
          <p:blipFill>
            <a:blip r:embed="rId6" cstate="print"/>
            <a:stretch>
              <a:fillRect/>
            </a:stretch>
          </p:blipFill>
          <p:spPr>
            <a:xfrm>
              <a:off x="4990503" y="3914"/>
              <a:ext cx="5701487" cy="7068312"/>
            </a:xfrm>
            <a:prstGeom prst="rect">
              <a:avLst/>
            </a:prstGeom>
          </p:spPr>
        </p:pic>
        <p:sp>
          <p:nvSpPr>
            <p:cNvPr id="5" name="object 5"/>
            <p:cNvSpPr/>
            <p:nvPr/>
          </p:nvSpPr>
          <p:spPr>
            <a:xfrm>
              <a:off x="201554" y="190947"/>
              <a:ext cx="130810" cy="0"/>
            </a:xfrm>
            <a:custGeom>
              <a:avLst/>
              <a:gdLst/>
              <a:ahLst/>
              <a:cxnLst/>
              <a:rect l="l" t="t" r="r" b="b"/>
              <a:pathLst>
                <a:path w="130810">
                  <a:moveTo>
                    <a:pt x="0" y="0"/>
                  </a:moveTo>
                  <a:lnTo>
                    <a:pt x="130225" y="0"/>
                  </a:lnTo>
                </a:path>
              </a:pathLst>
            </a:custGeom>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6" name="object 6"/>
            <p:cNvSpPr/>
            <p:nvPr/>
          </p:nvSpPr>
          <p:spPr>
            <a:xfrm>
              <a:off x="201554" y="265113"/>
              <a:ext cx="130810" cy="0"/>
            </a:xfrm>
            <a:custGeom>
              <a:avLst/>
              <a:gdLst/>
              <a:ahLst/>
              <a:cxnLst/>
              <a:rect l="l" t="t" r="r" b="b"/>
              <a:pathLst>
                <a:path w="130810">
                  <a:moveTo>
                    <a:pt x="0" y="0"/>
                  </a:moveTo>
                  <a:lnTo>
                    <a:pt x="130225" y="0"/>
                  </a:lnTo>
                </a:path>
              </a:pathLst>
            </a:custGeom>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7" name="object 7"/>
            <p:cNvSpPr/>
            <p:nvPr/>
          </p:nvSpPr>
          <p:spPr>
            <a:xfrm>
              <a:off x="201554" y="343640"/>
              <a:ext cx="130810" cy="0"/>
            </a:xfrm>
            <a:custGeom>
              <a:avLst/>
              <a:gdLst/>
              <a:ahLst/>
              <a:cxnLst/>
              <a:rect l="l" t="t" r="r" b="b"/>
              <a:pathLst>
                <a:path w="130810">
                  <a:moveTo>
                    <a:pt x="0" y="0"/>
                  </a:moveTo>
                  <a:lnTo>
                    <a:pt x="130225" y="0"/>
                  </a:lnTo>
                </a:path>
              </a:pathLst>
            </a:custGeom>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grpSp>
      <p:sp>
        <p:nvSpPr>
          <p:cNvPr id="8" name="object 8"/>
          <p:cNvSpPr txBox="1">
            <a:spLocks noGrp="1"/>
          </p:cNvSpPr>
          <p:nvPr>
            <p:ph type="title"/>
          </p:nvPr>
        </p:nvSpPr>
        <p:spPr>
          <a:xfrm>
            <a:off x="502101" y="402872"/>
            <a:ext cx="4117665"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Welcome to the ACME Partner Program</a:t>
            </a:r>
          </a:p>
        </p:txBody>
      </p:sp>
      <p:sp>
        <p:nvSpPr>
          <p:cNvPr id="10" name="object 10"/>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5</a:t>
            </a:fld>
            <a:endParaRPr spc="-25"/>
          </a:p>
        </p:txBody>
      </p:sp>
      <p:sp>
        <p:nvSpPr>
          <p:cNvPr id="9" name="object 9"/>
          <p:cNvSpPr txBox="1"/>
          <p:nvPr/>
        </p:nvSpPr>
        <p:spPr>
          <a:xfrm>
            <a:off x="518301" y="2175223"/>
            <a:ext cx="4101465" cy="3865161"/>
          </a:xfrm>
          <a:prstGeom prst="rect">
            <a:avLst/>
          </a:prstGeom>
        </p:spPr>
        <p:txBody>
          <a:bodyPr vert="horz" wrap="square" lIns="0" tIns="12700" rIns="0" bIns="0" rtlCol="0">
            <a:spAutoFit/>
          </a:bodyPr>
          <a:lstStyle/>
          <a:p>
            <a:pPr marL="12700" algn="l">
              <a:spcBef>
                <a:spcPts val="100"/>
              </a:spcBef>
            </a:pPr>
            <a:r>
              <a:rPr sz="1600" b="1" spc="-40" dirty="0">
                <a:solidFill>
                  <a:srgbClr val="5A87C5"/>
                </a:solidFill>
                <a:latin typeface="Slate Pro" panose="02000506040000020004" pitchFamily="2" charset="0"/>
                <a:cs typeface="Arial"/>
                <a:sym typeface="Slate Pro" panose="02000506040000020004" pitchFamily="2" charset="0"/>
              </a:rPr>
              <a:t>Dear</a:t>
            </a:r>
            <a:r>
              <a:rPr sz="1600" b="1" spc="-70" dirty="0">
                <a:solidFill>
                  <a:srgbClr val="5A87C5"/>
                </a:solidFill>
                <a:latin typeface="Slate Pro" panose="02000506040000020004" pitchFamily="2" charset="0"/>
                <a:cs typeface="Arial"/>
                <a:sym typeface="Slate Pro" panose="02000506040000020004" pitchFamily="2" charset="0"/>
              </a:rPr>
              <a:t> </a:t>
            </a:r>
            <a:r>
              <a:rPr lang="en-US" sz="1600" b="1" spc="-25" dirty="0">
                <a:solidFill>
                  <a:srgbClr val="5A87C5"/>
                </a:solidFill>
                <a:latin typeface="Slate Pro" panose="02000506040000020004" pitchFamily="2" charset="0"/>
                <a:cs typeface="Arial"/>
                <a:sym typeface="Slate Pro" panose="02000506040000020004" pitchFamily="2" charset="0"/>
              </a:rPr>
              <a:t>ACME </a:t>
            </a:r>
            <a:r>
              <a:rPr lang="en-US" sz="1600" b="1" spc="-10" dirty="0">
                <a:solidFill>
                  <a:srgbClr val="5A87C5"/>
                </a:solidFill>
                <a:latin typeface="Slate Pro" panose="02000506040000020004" pitchFamily="2" charset="0"/>
                <a:cs typeface="Arial"/>
                <a:sym typeface="Slate Pro" panose="02000506040000020004" pitchFamily="2" charset="0"/>
              </a:rPr>
              <a:t>Partner</a:t>
            </a:r>
            <a:r>
              <a:rPr sz="1600" b="1" spc="-10" dirty="0">
                <a:solidFill>
                  <a:srgbClr val="5A87C5"/>
                </a:solidFill>
                <a:latin typeface="Slate Pro" panose="02000506040000020004" pitchFamily="2" charset="0"/>
                <a:cs typeface="Arial"/>
                <a:sym typeface="Slate Pro" panose="02000506040000020004" pitchFamily="2" charset="0"/>
              </a:rPr>
              <a:t>,</a:t>
            </a:r>
            <a:endParaRPr lang="en-US" sz="1600" dirty="0">
              <a:solidFill>
                <a:srgbClr val="5A87C5"/>
              </a:solidFill>
              <a:latin typeface="Slate Pro" panose="02000506040000020004" pitchFamily="2" charset="0"/>
              <a:cs typeface="Arial"/>
              <a:sym typeface="Slate Pro" panose="02000506040000020004" pitchFamily="2" charset="0"/>
            </a:endParaRPr>
          </a:p>
          <a:p>
            <a:pPr marL="12700" marR="5080" algn="l">
              <a:lnSpc>
                <a:spcPct val="117400"/>
              </a:lnSpc>
              <a:spcBef>
                <a:spcPts val="1315"/>
              </a:spcBef>
            </a:pPr>
            <a:r>
              <a:rPr lang="en-US" sz="1200" spc="-15" dirty="0">
                <a:latin typeface="Slate Pro" panose="02000506040000020004" pitchFamily="2" charset="0"/>
                <a:cs typeface="Trebuchet MS"/>
                <a:sym typeface="Slate Pro" panose="02000506040000020004" pitchFamily="2" charset="0"/>
              </a:rPr>
              <a:t>The ACME Partner Program engages Partners across the globe, enabling them to help thousands of organizations solve their most pressing [Product A] and industry challenges. We see you — our Partner — as not only an expert in providing a consistent, user-centric experience for customers, but also as critical to our success. That’s why we will do all we can to consistently provide world-class products and solutions to you and our customers.</a:t>
            </a:r>
          </a:p>
          <a:p>
            <a:pPr marL="12700" marR="5080" algn="l">
              <a:lnSpc>
                <a:spcPct val="117400"/>
              </a:lnSpc>
              <a:spcBef>
                <a:spcPts val="1315"/>
              </a:spcBef>
            </a:pPr>
            <a:r>
              <a:rPr lang="en-US" sz="1200" spc="-15" dirty="0">
                <a:latin typeface="Slate Pro" panose="02000506040000020004" pitchFamily="2" charset="0"/>
                <a:cs typeface="Trebuchet MS"/>
                <a:sym typeface="Slate Pro" panose="02000506040000020004" pitchFamily="2" charset="0"/>
              </a:rPr>
              <a:t>We are very excited to have you as a valued Partner within our program. Our Partners will always be a priority for us here at ACME. For that reason, this program has been designed specifically for mutual growth and success. We hope our relationship with you will last for many years to come.</a:t>
            </a:r>
          </a:p>
          <a:p>
            <a:pPr algn="l">
              <a:spcBef>
                <a:spcPts val="30"/>
              </a:spcBef>
            </a:pPr>
            <a:endParaRPr lang="en-US" sz="1450" dirty="0">
              <a:latin typeface="Slate Pro" panose="02000506040000020004" pitchFamily="2" charset="0"/>
              <a:cs typeface="Arial"/>
              <a:sym typeface="Slate Pro" panose="02000506040000020004" pitchFamily="2" charset="0"/>
            </a:endParaRPr>
          </a:p>
          <a:p>
            <a:pPr marL="12700" algn="l"/>
            <a:r>
              <a:rPr sz="1400" b="1" spc="-40" dirty="0">
                <a:latin typeface="Slate Pro" panose="02000506040000020004" pitchFamily="2" charset="0"/>
                <a:cs typeface="Arial"/>
                <a:sym typeface="Slate Pro" panose="02000506040000020004" pitchFamily="2" charset="0"/>
              </a:rPr>
              <a:t>Best</a:t>
            </a:r>
            <a:r>
              <a:rPr sz="1400" b="1" spc="-70" dirty="0">
                <a:latin typeface="Slate Pro" panose="02000506040000020004" pitchFamily="2" charset="0"/>
                <a:cs typeface="Arial"/>
                <a:sym typeface="Slate Pro" panose="02000506040000020004" pitchFamily="2" charset="0"/>
              </a:rPr>
              <a:t> </a:t>
            </a:r>
            <a:r>
              <a:rPr sz="1400" b="1" spc="-10" dirty="0">
                <a:latin typeface="Slate Pro" panose="02000506040000020004" pitchFamily="2" charset="0"/>
                <a:cs typeface="Arial"/>
                <a:sym typeface="Slate Pro" panose="02000506040000020004" pitchFamily="2" charset="0"/>
              </a:rPr>
              <a:t>regards,</a:t>
            </a:r>
            <a:endParaRPr lang="en-US" sz="1400" dirty="0">
              <a:latin typeface="Slate Pro" panose="02000506040000020004" pitchFamily="2" charset="0"/>
              <a:cs typeface="Arial"/>
              <a:sym typeface="Slate Pro" panose="02000506040000020004" pitchFamily="2" charset="0"/>
            </a:endParaRPr>
          </a:p>
          <a:p>
            <a:pPr marL="12700" algn="l">
              <a:spcBef>
                <a:spcPts val="220"/>
              </a:spcBef>
            </a:pPr>
            <a:r>
              <a:rPr sz="1400" b="1" spc="-30" dirty="0">
                <a:latin typeface="Slate Pro" panose="02000506040000020004" pitchFamily="2" charset="0"/>
                <a:cs typeface="Arial"/>
                <a:sym typeface="Slate Pro" panose="02000506040000020004" pitchFamily="2" charset="0"/>
              </a:rPr>
              <a:t>The</a:t>
            </a:r>
            <a:r>
              <a:rPr sz="1400" b="1" spc="-50" dirty="0">
                <a:latin typeface="Slate Pro" panose="02000506040000020004" pitchFamily="2" charset="0"/>
                <a:cs typeface="Arial"/>
                <a:sym typeface="Slate Pro" panose="02000506040000020004" pitchFamily="2" charset="0"/>
              </a:rPr>
              <a:t> </a:t>
            </a:r>
            <a:r>
              <a:rPr lang="en-US" sz="1400" b="1" spc="-25" dirty="0">
                <a:latin typeface="Slate Pro" panose="02000506040000020004" pitchFamily="2" charset="0"/>
                <a:cs typeface="Arial"/>
                <a:sym typeface="Slate Pro" panose="02000506040000020004" pitchFamily="2" charset="0"/>
              </a:rPr>
              <a:t>ACME </a:t>
            </a:r>
            <a:r>
              <a:rPr lang="en-US" sz="1400" b="1" spc="-45" dirty="0">
                <a:latin typeface="Slate Pro" panose="02000506040000020004" pitchFamily="2" charset="0"/>
                <a:cs typeface="Arial"/>
                <a:sym typeface="Slate Pro" panose="02000506040000020004" pitchFamily="2" charset="0"/>
              </a:rPr>
              <a:t>Partner Team</a:t>
            </a:r>
            <a:endParaRPr lang="en-US" sz="1400" dirty="0">
              <a:latin typeface="Slate Pro" panose="02000506040000020004" pitchFamily="2" charset="0"/>
              <a:cs typeface="Arial"/>
              <a:sym typeface="Slate Pro" panose="02000506040000020004" pitchFamily="2" charset="0"/>
            </a:endParaRPr>
          </a:p>
        </p:txBody>
      </p:sp>
      <p:sp>
        <p:nvSpPr>
          <p:cNvPr id="13" name="Holder 4">
            <a:extLst>
              <a:ext uri="{FF2B5EF4-FFF2-40B4-BE49-F238E27FC236}">
                <a16:creationId xmlns:a16="http://schemas.microsoft.com/office/drawing/2014/main" id="{F3B516AD-45AC-374B-9F20-E4132CD94D38}"/>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16" name="Group 15">
            <a:extLst>
              <a:ext uri="{FF2B5EF4-FFF2-40B4-BE49-F238E27FC236}">
                <a16:creationId xmlns:a16="http://schemas.microsoft.com/office/drawing/2014/main" id="{CD1A77FF-B32B-3C5A-04C3-70F1493EF406}"/>
              </a:ext>
            </a:extLst>
          </p:cNvPr>
          <p:cNvGrpSpPr/>
          <p:nvPr/>
        </p:nvGrpSpPr>
        <p:grpSpPr>
          <a:xfrm>
            <a:off x="157427" y="7205390"/>
            <a:ext cx="2416310" cy="276999"/>
            <a:chOff x="157428" y="7205390"/>
            <a:chExt cx="2132373" cy="276999"/>
          </a:xfrm>
        </p:grpSpPr>
        <p:sp>
          <p:nvSpPr>
            <p:cNvPr id="14" name="TextBox 13">
              <a:hlinkClick r:id="rId7" action="ppaction://hlinksldjump"/>
              <a:extLst>
                <a:ext uri="{FF2B5EF4-FFF2-40B4-BE49-F238E27FC236}">
                  <a16:creationId xmlns:a16="http://schemas.microsoft.com/office/drawing/2014/main" id="{0470CC4B-BDF7-B4AB-0CEB-5ED31FC5D012}"/>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5" name="Arrow: Right 14">
              <a:extLst>
                <a:ext uri="{FF2B5EF4-FFF2-40B4-BE49-F238E27FC236}">
                  <a16:creationId xmlns:a16="http://schemas.microsoft.com/office/drawing/2014/main" id="{DCB50CAE-5D95-E5A9-8191-643CBA8D3150}"/>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179B6E9-5760-21B9-4ABA-BE5561BADBBB}"/>
              </a:ext>
            </a:extLst>
          </p:cNvPr>
          <p:cNvGraphicFramePr>
            <a:graphicFrameLocks noChangeAspect="1"/>
          </p:cNvGraphicFramePr>
          <p:nvPr>
            <p:custDataLst>
              <p:tags r:id="rId1"/>
            </p:custDataLst>
            <p:extLst>
              <p:ext uri="{D42A27DB-BD31-4B8C-83A1-F6EECF244321}">
                <p14:modId xmlns:p14="http://schemas.microsoft.com/office/powerpoint/2010/main" val="117640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 name="Object 18" hidden="1">
                        <a:extLst>
                          <a:ext uri="{FF2B5EF4-FFF2-40B4-BE49-F238E27FC236}">
                            <a16:creationId xmlns:a16="http://schemas.microsoft.com/office/drawing/2014/main" id="{B179B6E9-5760-21B9-4ABA-BE5561BADB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4"/>
          <p:cNvSpPr/>
          <p:nvPr/>
        </p:nvSpPr>
        <p:spPr>
          <a:xfrm>
            <a:off x="574898" y="3122956"/>
            <a:ext cx="3924300" cy="0"/>
          </a:xfrm>
          <a:custGeom>
            <a:avLst/>
            <a:gdLst/>
            <a:ahLst/>
            <a:cxnLst/>
            <a:rect l="l" t="t" r="r" b="b"/>
            <a:pathLst>
              <a:path w="3924300">
                <a:moveTo>
                  <a:pt x="0" y="0"/>
                </a:moveTo>
                <a:lnTo>
                  <a:pt x="3923995" y="0"/>
                </a:lnTo>
              </a:path>
            </a:pathLst>
          </a:custGeom>
          <a:ln w="6350">
            <a:solidFill>
              <a:srgbClr val="A69E96"/>
            </a:solidFill>
          </a:ln>
        </p:spPr>
        <p:txBody>
          <a:bodyPr wrap="square" lIns="0" tIns="0" rIns="0" bIns="0" rtlCol="0"/>
          <a:lstStyle/>
          <a:p>
            <a:endParaRPr sz="1600">
              <a:latin typeface="Slate Pro" panose="02000506040000020004" pitchFamily="2" charset="0"/>
              <a:sym typeface="Slate Pro" panose="02000506040000020004" pitchFamily="2" charset="0"/>
            </a:endParaRPr>
          </a:p>
        </p:txBody>
      </p:sp>
      <p:sp>
        <p:nvSpPr>
          <p:cNvPr id="5" name="object 5"/>
          <p:cNvSpPr/>
          <p:nvPr/>
        </p:nvSpPr>
        <p:spPr>
          <a:xfrm>
            <a:off x="574898" y="1754952"/>
            <a:ext cx="3924300" cy="0"/>
          </a:xfrm>
          <a:custGeom>
            <a:avLst/>
            <a:gdLst/>
            <a:ahLst/>
            <a:cxnLst/>
            <a:rect l="l" t="t" r="r" b="b"/>
            <a:pathLst>
              <a:path w="3924300">
                <a:moveTo>
                  <a:pt x="0" y="0"/>
                </a:moveTo>
                <a:lnTo>
                  <a:pt x="3923995" y="0"/>
                </a:lnTo>
              </a:path>
            </a:pathLst>
          </a:custGeom>
          <a:ln w="6350">
            <a:solidFill>
              <a:srgbClr val="A69E96"/>
            </a:solidFill>
          </a:ln>
        </p:spPr>
        <p:txBody>
          <a:bodyPr wrap="square" lIns="0" tIns="0" rIns="0" bIns="0" rtlCol="0"/>
          <a:lstStyle/>
          <a:p>
            <a:endParaRPr sz="1600">
              <a:latin typeface="Slate Pro" panose="02000506040000020004" pitchFamily="2" charset="0"/>
              <a:sym typeface="Slate Pro" panose="02000506040000020004" pitchFamily="2" charset="0"/>
            </a:endParaRPr>
          </a:p>
        </p:txBody>
      </p:sp>
      <p:sp>
        <p:nvSpPr>
          <p:cNvPr id="7" name="object 7"/>
          <p:cNvSpPr txBox="1">
            <a:spLocks noGrp="1"/>
          </p:cNvSpPr>
          <p:nvPr>
            <p:ph type="title"/>
          </p:nvPr>
        </p:nvSpPr>
        <p:spPr>
          <a:xfrm>
            <a:off x="506301" y="402336"/>
            <a:ext cx="3164205"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Your Portal For Success</a:t>
            </a:r>
          </a:p>
        </p:txBody>
      </p:sp>
      <p:sp>
        <p:nvSpPr>
          <p:cNvPr id="8" name="object 8"/>
          <p:cNvSpPr txBox="1"/>
          <p:nvPr/>
        </p:nvSpPr>
        <p:spPr>
          <a:xfrm>
            <a:off x="881123" y="2675948"/>
            <a:ext cx="2926080" cy="197490"/>
          </a:xfrm>
          <a:prstGeom prst="rect">
            <a:avLst/>
          </a:prstGeom>
        </p:spPr>
        <p:txBody>
          <a:bodyPr vert="horz" wrap="none" lIns="0" tIns="12700" rIns="0" bIns="0" rtlCol="0" anchor="ctr">
            <a:noAutofit/>
          </a:bodyPr>
          <a:lstStyle/>
          <a:p>
            <a:pPr marL="12700" algn="l">
              <a:spcBef>
                <a:spcPts val="100"/>
              </a:spcBef>
            </a:pPr>
            <a:r>
              <a:rPr lang="en-US" sz="1600" b="1" dirty="0">
                <a:latin typeface="Slate Pro" panose="02000506040000020004" pitchFamily="2" charset="0"/>
                <a:cs typeface="Arial"/>
                <a:sym typeface="Slate Pro" panose="02000506040000020004" pitchFamily="2" charset="0"/>
              </a:rPr>
              <a:t>Access All ACME Partner Resources</a:t>
            </a:r>
            <a:endParaRPr lang="en-US" sz="1600" dirty="0">
              <a:latin typeface="Slate Pro" panose="02000506040000020004" pitchFamily="2" charset="0"/>
              <a:cs typeface="Arial"/>
              <a:sym typeface="Slate Pro" panose="02000506040000020004" pitchFamily="2" charset="0"/>
            </a:endParaRPr>
          </a:p>
        </p:txBody>
      </p:sp>
      <p:sp>
        <p:nvSpPr>
          <p:cNvPr id="10" name="object 10"/>
          <p:cNvSpPr txBox="1"/>
          <p:nvPr/>
        </p:nvSpPr>
        <p:spPr>
          <a:xfrm>
            <a:off x="881123" y="1970028"/>
            <a:ext cx="2926080" cy="197490"/>
          </a:xfrm>
          <a:prstGeom prst="rect">
            <a:avLst/>
          </a:prstGeom>
        </p:spPr>
        <p:txBody>
          <a:bodyPr vert="horz" wrap="none" lIns="0" tIns="12700" rIns="0" bIns="0" rtlCol="0" anchor="ctr">
            <a:noAutofit/>
          </a:bodyPr>
          <a:lstStyle/>
          <a:p>
            <a:pPr marL="12066" algn="l">
              <a:spcBef>
                <a:spcPts val="100"/>
              </a:spcBef>
              <a:buClr>
                <a:srgbClr val="FFFFFF"/>
              </a:buClr>
              <a:tabLst>
                <a:tab pos="220345" algn="l"/>
                <a:tab pos="220979" algn="l"/>
              </a:tabLst>
            </a:pPr>
            <a:r>
              <a:rPr lang="en-US" sz="1600" b="1" dirty="0">
                <a:latin typeface="Slate Pro" panose="02000506040000020004" pitchFamily="2" charset="0"/>
                <a:cs typeface="Arial"/>
                <a:sym typeface="Slate Pro" panose="02000506040000020004" pitchFamily="2" charset="0"/>
              </a:rPr>
              <a:t>Register and Track Deals</a:t>
            </a:r>
            <a:endParaRPr lang="en-US" sz="1600" dirty="0">
              <a:latin typeface="Slate Pro" panose="02000506040000020004" pitchFamily="2" charset="0"/>
              <a:cs typeface="Arial"/>
              <a:sym typeface="Slate Pro" panose="02000506040000020004" pitchFamily="2" charset="0"/>
            </a:endParaRPr>
          </a:p>
        </p:txBody>
      </p:sp>
      <p:sp>
        <p:nvSpPr>
          <p:cNvPr id="17" name="object 17"/>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6</a:t>
            </a:fld>
            <a:endParaRPr spc="-25"/>
          </a:p>
        </p:txBody>
      </p:sp>
      <p:sp>
        <p:nvSpPr>
          <p:cNvPr id="22" name="object 12">
            <a:extLst>
              <a:ext uri="{FF2B5EF4-FFF2-40B4-BE49-F238E27FC236}">
                <a16:creationId xmlns:a16="http://schemas.microsoft.com/office/drawing/2014/main" id="{B611568D-C751-4127-51CC-F1169782A48A}"/>
              </a:ext>
            </a:extLst>
          </p:cNvPr>
          <p:cNvSpPr/>
          <p:nvPr/>
        </p:nvSpPr>
        <p:spPr>
          <a:xfrm>
            <a:off x="201554" y="190947"/>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3" name="object 13">
            <a:extLst>
              <a:ext uri="{FF2B5EF4-FFF2-40B4-BE49-F238E27FC236}">
                <a16:creationId xmlns:a16="http://schemas.microsoft.com/office/drawing/2014/main" id="{D5785A38-50A5-09E0-6F7F-A96EF77E7255}"/>
              </a:ext>
            </a:extLst>
          </p:cNvPr>
          <p:cNvSpPr/>
          <p:nvPr/>
        </p:nvSpPr>
        <p:spPr>
          <a:xfrm>
            <a:off x="201554" y="265113"/>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4" name="object 14">
            <a:extLst>
              <a:ext uri="{FF2B5EF4-FFF2-40B4-BE49-F238E27FC236}">
                <a16:creationId xmlns:a16="http://schemas.microsoft.com/office/drawing/2014/main" id="{804BB7A6-8460-F4D1-4629-9A6F1BB28B49}"/>
              </a:ext>
            </a:extLst>
          </p:cNvPr>
          <p:cNvSpPr/>
          <p:nvPr/>
        </p:nvSpPr>
        <p:spPr>
          <a:xfrm>
            <a:off x="201554" y="343640"/>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5AFBFEA9-0790-431B-5361-D250416EB617}"/>
              </a:ext>
            </a:extLst>
          </p:cNvPr>
          <p:cNvSpPr/>
          <p:nvPr/>
        </p:nvSpPr>
        <p:spPr>
          <a:xfrm>
            <a:off x="560688" y="1964116"/>
            <a:ext cx="215733" cy="202592"/>
          </a:xfrm>
          <a:prstGeom prst="rect">
            <a:avLst/>
          </a:prstGeom>
          <a:solidFill>
            <a:srgbClr val="FF8800"/>
          </a:solidFill>
          <a:ln>
            <a:solidFill>
              <a:srgbClr val="FF8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Slate Pro" panose="02000506040000020004" pitchFamily="2" charset="0"/>
                <a:sym typeface="Slate Pro" panose="02000506040000020004" pitchFamily="2" charset="0"/>
              </a:rPr>
              <a:t>1</a:t>
            </a:r>
          </a:p>
        </p:txBody>
      </p:sp>
      <p:sp>
        <p:nvSpPr>
          <p:cNvPr id="25" name="Rectangle 24">
            <a:extLst>
              <a:ext uri="{FF2B5EF4-FFF2-40B4-BE49-F238E27FC236}">
                <a16:creationId xmlns:a16="http://schemas.microsoft.com/office/drawing/2014/main" id="{5A4D5301-D936-968B-EDD8-47E1012F5A40}"/>
              </a:ext>
            </a:extLst>
          </p:cNvPr>
          <p:cNvSpPr/>
          <p:nvPr/>
        </p:nvSpPr>
        <p:spPr>
          <a:xfrm>
            <a:off x="560688" y="2316610"/>
            <a:ext cx="215733" cy="202592"/>
          </a:xfrm>
          <a:prstGeom prst="rect">
            <a:avLst/>
          </a:prstGeom>
          <a:solidFill>
            <a:srgbClr val="5987C6"/>
          </a:solidFill>
          <a:ln>
            <a:solidFill>
              <a:srgbClr val="5987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Slate Pro" panose="02000506040000020004" pitchFamily="2" charset="0"/>
                <a:sym typeface="Slate Pro" panose="02000506040000020004" pitchFamily="2" charset="0"/>
              </a:rPr>
              <a:t>2</a:t>
            </a:r>
          </a:p>
        </p:txBody>
      </p:sp>
      <p:sp>
        <p:nvSpPr>
          <p:cNvPr id="26" name="Rectangle 25">
            <a:extLst>
              <a:ext uri="{FF2B5EF4-FFF2-40B4-BE49-F238E27FC236}">
                <a16:creationId xmlns:a16="http://schemas.microsoft.com/office/drawing/2014/main" id="{45408F73-E9A3-E11D-57BB-C49DFEBC6B17}"/>
              </a:ext>
            </a:extLst>
          </p:cNvPr>
          <p:cNvSpPr/>
          <p:nvPr/>
        </p:nvSpPr>
        <p:spPr>
          <a:xfrm>
            <a:off x="560688" y="2669105"/>
            <a:ext cx="215733" cy="202592"/>
          </a:xfrm>
          <a:prstGeom prst="rect">
            <a:avLst/>
          </a:prstGeom>
          <a:solidFill>
            <a:srgbClr val="38639F"/>
          </a:solidFill>
          <a:ln>
            <a:solidFill>
              <a:srgbClr val="386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Slate Pro" panose="02000506040000020004" pitchFamily="2" charset="0"/>
                <a:sym typeface="Slate Pro" panose="02000506040000020004" pitchFamily="2" charset="0"/>
              </a:rPr>
              <a:t>3</a:t>
            </a:r>
          </a:p>
        </p:txBody>
      </p:sp>
      <p:sp>
        <p:nvSpPr>
          <p:cNvPr id="28" name="TextBox 27">
            <a:extLst>
              <a:ext uri="{FF2B5EF4-FFF2-40B4-BE49-F238E27FC236}">
                <a16:creationId xmlns:a16="http://schemas.microsoft.com/office/drawing/2014/main" id="{9A9546F1-8EA9-1915-1AF0-18D2500675A1}"/>
              </a:ext>
            </a:extLst>
          </p:cNvPr>
          <p:cNvSpPr txBox="1"/>
          <p:nvPr/>
        </p:nvSpPr>
        <p:spPr>
          <a:xfrm>
            <a:off x="881123" y="2326076"/>
            <a:ext cx="2926080" cy="197490"/>
          </a:xfrm>
          <a:prstGeom prst="rect">
            <a:avLst/>
          </a:prstGeom>
        </p:spPr>
        <p:txBody>
          <a:bodyPr vert="horz" wrap="none" lIns="0" tIns="12700" rIns="0" bIns="0" rtlCol="0" anchor="ctr">
            <a:noAutofit/>
          </a:bodyPr>
          <a:lstStyle>
            <a:defPPr>
              <a:defRPr kern="0"/>
            </a:defPPr>
            <a:lvl1pPr marL="12700">
              <a:lnSpc>
                <a:spcPct val="100000"/>
              </a:lnSpc>
              <a:spcBef>
                <a:spcPts val="100"/>
              </a:spcBef>
              <a:defRPr sz="1100" b="1" spc="-85">
                <a:latin typeface="Proxima Nova Rg" panose="02000506030000020004" pitchFamily="50" charset="0"/>
                <a:cs typeface="Arial"/>
              </a:defRPr>
            </a:lvl1pPr>
          </a:lstStyle>
          <a:p>
            <a:pPr algn="l"/>
            <a:r>
              <a:rPr lang="en-US" sz="1600" spc="0">
                <a:latin typeface="Slate Pro" panose="02000506040000020004" pitchFamily="2" charset="0"/>
                <a:sym typeface="Slate Pro" panose="02000506040000020004" pitchFamily="2" charset="0"/>
              </a:rPr>
              <a:t>Share Referrals</a:t>
            </a:r>
          </a:p>
        </p:txBody>
      </p:sp>
      <p:pic>
        <p:nvPicPr>
          <p:cNvPr id="3" name="Picture 2" descr="People standing around man working on laptop">
            <a:extLst>
              <a:ext uri="{FF2B5EF4-FFF2-40B4-BE49-F238E27FC236}">
                <a16:creationId xmlns:a16="http://schemas.microsoft.com/office/drawing/2014/main" id="{BD2C0D57-D6F1-CF43-0F7A-8A3549876D8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979627" y="0"/>
            <a:ext cx="5713775" cy="7068312"/>
          </a:xfrm>
          <a:prstGeom prst="rect">
            <a:avLst/>
          </a:prstGeom>
        </p:spPr>
      </p:pic>
      <p:sp>
        <p:nvSpPr>
          <p:cNvPr id="6" name="Holder 4">
            <a:extLst>
              <a:ext uri="{FF2B5EF4-FFF2-40B4-BE49-F238E27FC236}">
                <a16:creationId xmlns:a16="http://schemas.microsoft.com/office/drawing/2014/main" id="{913265F6-B574-3A5E-2B59-A857A131815D}"/>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B0E14226-308F-DAB3-4617-937752D3621A}"/>
              </a:ext>
            </a:extLst>
          </p:cNvPr>
          <p:cNvSpPr txBox="1"/>
          <p:nvPr/>
        </p:nvSpPr>
        <p:spPr>
          <a:xfrm>
            <a:off x="506299" y="3254956"/>
            <a:ext cx="4188682" cy="2369880"/>
          </a:xfrm>
          <a:prstGeom prst="rect">
            <a:avLst/>
          </a:prstGeom>
          <a:noFill/>
        </p:spPr>
        <p:txBody>
          <a:bodyPr wrap="square">
            <a:spAutoFit/>
          </a:bodyPr>
          <a:lstStyle/>
          <a:p>
            <a:r>
              <a:rPr lang="en-US" b="1" dirty="0">
                <a:latin typeface="Slate Pro" panose="02000506040000020004" pitchFamily="2" charset="0"/>
                <a:sym typeface="Slate Pro" panose="02000506040000020004" pitchFamily="2" charset="0"/>
              </a:rPr>
              <a:t>The ACME Partner Portal is your most valuable resource.</a:t>
            </a:r>
          </a:p>
          <a:p>
            <a:endParaRPr lang="en-US" sz="1400" dirty="0">
              <a:latin typeface="Slate Pro" panose="02000506040000020004" pitchFamily="2" charset="0"/>
              <a:sym typeface="Slate Pro" panose="02000506040000020004" pitchFamily="2" charset="0"/>
            </a:endParaRPr>
          </a:p>
          <a:p>
            <a:r>
              <a:rPr lang="en-US" sz="1400" dirty="0">
                <a:latin typeface="Slate Pro" panose="02000506040000020004" pitchFamily="2" charset="0"/>
                <a:sym typeface="Slate Pro" panose="02000506040000020004" pitchFamily="2" charset="0"/>
              </a:rPr>
              <a:t>Through the portal you can gain access to marketing materials, trainings, deal registration, and much more. Information about, and access to these resources, can all be found on the ACME Partner Portal. </a:t>
            </a:r>
          </a:p>
          <a:p>
            <a:endParaRPr lang="en-US" sz="1400" dirty="0">
              <a:latin typeface="Slate Pro" panose="02000506040000020004" pitchFamily="2" charset="0"/>
              <a:sym typeface="Slate Pro" panose="02000506040000020004" pitchFamily="2" charset="0"/>
            </a:endParaRPr>
          </a:p>
          <a:p>
            <a:r>
              <a:rPr lang="en-US" sz="1400" dirty="0">
                <a:latin typeface="Slate Pro" panose="02000506040000020004" pitchFamily="2" charset="0"/>
                <a:sym typeface="Slate Pro" panose="02000506040000020004" pitchFamily="2" charset="0"/>
              </a:rPr>
              <a:t>If you have questions regarding the ACME Partner Portal, please review the ACME Partner Portal FAQ. </a:t>
            </a:r>
          </a:p>
        </p:txBody>
      </p:sp>
      <p:grpSp>
        <p:nvGrpSpPr>
          <p:cNvPr id="18" name="Group 17">
            <a:extLst>
              <a:ext uri="{FF2B5EF4-FFF2-40B4-BE49-F238E27FC236}">
                <a16:creationId xmlns:a16="http://schemas.microsoft.com/office/drawing/2014/main" id="{64FE603C-F6BF-35D6-27AA-AEBF420388F1}"/>
              </a:ext>
            </a:extLst>
          </p:cNvPr>
          <p:cNvGrpSpPr/>
          <p:nvPr/>
        </p:nvGrpSpPr>
        <p:grpSpPr>
          <a:xfrm>
            <a:off x="157427" y="7205390"/>
            <a:ext cx="2416310" cy="276999"/>
            <a:chOff x="157428" y="7205390"/>
            <a:chExt cx="2132373" cy="276999"/>
          </a:xfrm>
        </p:grpSpPr>
        <p:sp>
          <p:nvSpPr>
            <p:cNvPr id="20" name="TextBox 19">
              <a:hlinkClick r:id="rId7" action="ppaction://hlinksldjump"/>
              <a:extLst>
                <a:ext uri="{FF2B5EF4-FFF2-40B4-BE49-F238E27FC236}">
                  <a16:creationId xmlns:a16="http://schemas.microsoft.com/office/drawing/2014/main" id="{4394A466-8DCA-CD48-D0EB-9D56B6B3A5CC}"/>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21" name="Arrow: Right 20">
              <a:extLst>
                <a:ext uri="{FF2B5EF4-FFF2-40B4-BE49-F238E27FC236}">
                  <a16:creationId xmlns:a16="http://schemas.microsoft.com/office/drawing/2014/main" id="{2BC30176-FEC8-70FB-E2BC-D37BE074F58E}"/>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7111D37B-ECDF-BF64-C0B4-E9CEC508D2FA}"/>
              </a:ext>
            </a:extLst>
          </p:cNvPr>
          <p:cNvGraphicFramePr>
            <a:graphicFrameLocks noChangeAspect="1"/>
          </p:cNvGraphicFramePr>
          <p:nvPr>
            <p:custDataLst>
              <p:tags r:id="rId1"/>
            </p:custDataLst>
            <p:extLst>
              <p:ext uri="{D42A27DB-BD31-4B8C-83A1-F6EECF244321}">
                <p14:modId xmlns:p14="http://schemas.microsoft.com/office/powerpoint/2010/main" val="93971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7" name="Object 36" hidden="1">
                        <a:extLst>
                          <a:ext uri="{FF2B5EF4-FFF2-40B4-BE49-F238E27FC236}">
                            <a16:creationId xmlns:a16="http://schemas.microsoft.com/office/drawing/2014/main" id="{7111D37B-ECDF-BF64-C0B4-E9CEC508D2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502920" y="402336"/>
            <a:ext cx="10233102" cy="505267"/>
          </a:xfrm>
          <a:prstGeom prst="rect">
            <a:avLst/>
          </a:prstGeom>
        </p:spPr>
        <p:txBody>
          <a:bodyPr vert="horz" wrap="square" lIns="0" tIns="12700" rIns="0" bIns="0" rtlCol="0">
            <a:spAutoFit/>
          </a:bodyPr>
          <a:lstStyle/>
          <a:p>
            <a:pPr marL="9525">
              <a:spcBef>
                <a:spcPts val="100"/>
              </a:spcBef>
            </a:pPr>
            <a:r>
              <a:rPr lang="en-US" sz="3200" dirty="0">
                <a:solidFill>
                  <a:srgbClr val="5A87C5"/>
                </a:solidFill>
              </a:rPr>
              <a:t>Partner Types</a:t>
            </a:r>
            <a:r>
              <a:rPr sz="3200" dirty="0">
                <a:solidFill>
                  <a:srgbClr val="5A87C5"/>
                </a:solidFill>
              </a:rPr>
              <a:t> </a:t>
            </a:r>
            <a:r>
              <a:rPr lang="en-US" sz="3200" dirty="0">
                <a:solidFill>
                  <a:srgbClr val="5A87C5"/>
                </a:solidFill>
              </a:rPr>
              <a:t>— Who Do We Work With </a:t>
            </a:r>
            <a:endParaRPr sz="3200" dirty="0">
              <a:solidFill>
                <a:srgbClr val="5A87C5"/>
              </a:solidFill>
            </a:endParaRPr>
          </a:p>
        </p:txBody>
      </p:sp>
      <p:sp>
        <p:nvSpPr>
          <p:cNvPr id="35" name="object 35"/>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7</a:t>
            </a:fld>
            <a:endParaRPr spc="-25"/>
          </a:p>
        </p:txBody>
      </p:sp>
      <p:grpSp>
        <p:nvGrpSpPr>
          <p:cNvPr id="11" name="Group 10">
            <a:extLst>
              <a:ext uri="{FF2B5EF4-FFF2-40B4-BE49-F238E27FC236}">
                <a16:creationId xmlns:a16="http://schemas.microsoft.com/office/drawing/2014/main" id="{9F182451-12CD-9DB2-7143-0B7C56477F4D}"/>
              </a:ext>
            </a:extLst>
          </p:cNvPr>
          <p:cNvGrpSpPr/>
          <p:nvPr/>
        </p:nvGrpSpPr>
        <p:grpSpPr>
          <a:xfrm>
            <a:off x="201473" y="2174072"/>
            <a:ext cx="10327244" cy="4794357"/>
            <a:chOff x="144636" y="2151645"/>
            <a:chExt cx="10327244" cy="4794357"/>
          </a:xfrm>
        </p:grpSpPr>
        <p:grpSp>
          <p:nvGrpSpPr>
            <p:cNvPr id="30" name="Group 29">
              <a:extLst>
                <a:ext uri="{FF2B5EF4-FFF2-40B4-BE49-F238E27FC236}">
                  <a16:creationId xmlns:a16="http://schemas.microsoft.com/office/drawing/2014/main" id="{EEBBF629-8064-F06B-DD8F-459666BEB3A3}"/>
                </a:ext>
              </a:extLst>
            </p:cNvPr>
            <p:cNvGrpSpPr/>
            <p:nvPr/>
          </p:nvGrpSpPr>
          <p:grpSpPr>
            <a:xfrm>
              <a:off x="3281893" y="2151648"/>
              <a:ext cx="1280160" cy="1280160"/>
              <a:chOff x="4061409" y="1175852"/>
              <a:chExt cx="1280160" cy="1280160"/>
            </a:xfrm>
          </p:grpSpPr>
          <p:sp>
            <p:nvSpPr>
              <p:cNvPr id="47" name="Oval 46">
                <a:extLst>
                  <a:ext uri="{FF2B5EF4-FFF2-40B4-BE49-F238E27FC236}">
                    <a16:creationId xmlns:a16="http://schemas.microsoft.com/office/drawing/2014/main" id="{1202857B-1069-CF74-4E7A-B45E4AF21467}"/>
                  </a:ext>
                </a:extLst>
              </p:cNvPr>
              <p:cNvSpPr/>
              <p:nvPr/>
            </p:nvSpPr>
            <p:spPr>
              <a:xfrm>
                <a:off x="4061409" y="1175852"/>
                <a:ext cx="1280160" cy="1280160"/>
              </a:xfrm>
              <a:prstGeom prst="ellipse">
                <a:avLst/>
              </a:prstGeom>
              <a:solidFill>
                <a:srgbClr val="38639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pic>
            <p:nvPicPr>
              <p:cNvPr id="48" name="Google Shape;8738;p20" descr="Gears with solid fill">
                <a:extLst>
                  <a:ext uri="{FF2B5EF4-FFF2-40B4-BE49-F238E27FC236}">
                    <a16:creationId xmlns:a16="http://schemas.microsoft.com/office/drawing/2014/main" id="{C5235104-6C7F-D18C-7158-FEC6B40B711A}"/>
                  </a:ext>
                </a:extLst>
              </p:cNvPr>
              <p:cNvPicPr preferRelativeResize="0"/>
              <p:nvPr/>
            </p:nvPicPr>
            <p:blipFill>
              <a:blip r:embed="rId6">
                <a:extLst>
                  <a:ext uri="{96DAC541-7B7A-43D3-8B79-37D633B846F1}">
                    <asvg:svgBlip xmlns:asvg="http://schemas.microsoft.com/office/drawing/2016/SVG/main" r:embed="rId7"/>
                  </a:ext>
                </a:extLst>
              </a:blip>
              <a:srcRect/>
              <a:stretch/>
            </p:blipFill>
            <p:spPr>
              <a:xfrm>
                <a:off x="4243023" y="1357463"/>
                <a:ext cx="916933" cy="916933"/>
              </a:xfrm>
              <a:prstGeom prst="rect">
                <a:avLst/>
              </a:prstGeom>
              <a:noFill/>
              <a:ln>
                <a:noFill/>
              </a:ln>
            </p:spPr>
          </p:pic>
        </p:grpSp>
        <p:sp>
          <p:nvSpPr>
            <p:cNvPr id="49" name="Google Shape;8739;p20">
              <a:extLst>
                <a:ext uri="{FF2B5EF4-FFF2-40B4-BE49-F238E27FC236}">
                  <a16:creationId xmlns:a16="http://schemas.microsoft.com/office/drawing/2014/main" id="{C2745317-D613-7F62-1E0B-9CEFD9CBA1B6}"/>
                </a:ext>
              </a:extLst>
            </p:cNvPr>
            <p:cNvSpPr txBox="1"/>
            <p:nvPr/>
          </p:nvSpPr>
          <p:spPr>
            <a:xfrm>
              <a:off x="2977372" y="3617124"/>
              <a:ext cx="1889203" cy="584735"/>
            </a:xfrm>
            <a:prstGeom prst="rect">
              <a:avLst/>
            </a:prstGeom>
            <a:noFill/>
            <a:ln>
              <a:noFill/>
            </a:ln>
          </p:spPr>
          <p:txBody>
            <a:bodyPr spcFirstLastPara="1" wrap="square" lIns="91425" tIns="45700" rIns="91425" bIns="45700" anchor="t" anchorCtr="0">
              <a:spAutoFit/>
            </a:bodyPr>
            <a:lstStyle/>
            <a:p>
              <a:pPr algn="ctr" rtl="0">
                <a:buClr>
                  <a:srgbClr val="000000"/>
                </a:buClr>
                <a:buSzPts val="1400"/>
              </a:pPr>
              <a:r>
                <a:rPr lang="en-US" sz="1600" b="1" dirty="0">
                  <a:solidFill>
                    <a:schemeClr val="tx1"/>
                  </a:solidFill>
                  <a:latin typeface="Slate Pro" panose="02000506040000020004" pitchFamily="2" charset="0"/>
                  <a:sym typeface="Slate Pro" panose="02000506040000020004" pitchFamily="2" charset="0"/>
                </a:rPr>
                <a:t>Implementation Partners</a:t>
              </a:r>
            </a:p>
          </p:txBody>
        </p:sp>
        <p:sp>
          <p:nvSpPr>
            <p:cNvPr id="51" name="Google Shape;8743;p20">
              <a:extLst>
                <a:ext uri="{FF2B5EF4-FFF2-40B4-BE49-F238E27FC236}">
                  <a16:creationId xmlns:a16="http://schemas.microsoft.com/office/drawing/2014/main" id="{C8289831-4339-C828-9531-D820177C60BC}"/>
                </a:ext>
              </a:extLst>
            </p:cNvPr>
            <p:cNvSpPr txBox="1"/>
            <p:nvPr/>
          </p:nvSpPr>
          <p:spPr>
            <a:xfrm>
              <a:off x="144636" y="3617124"/>
              <a:ext cx="2171589" cy="338514"/>
            </a:xfrm>
            <a:prstGeom prst="rect">
              <a:avLst/>
            </a:prstGeom>
            <a:noFill/>
            <a:ln>
              <a:noFill/>
            </a:ln>
          </p:spPr>
          <p:txBody>
            <a:bodyPr spcFirstLastPara="1" wrap="square" lIns="91425" tIns="45700" rIns="91425" bIns="45700" anchor="t" anchorCtr="0">
              <a:spAutoFit/>
            </a:bodyPr>
            <a:lstStyle/>
            <a:p>
              <a:pPr algn="ctr" rtl="0">
                <a:buClr>
                  <a:srgbClr val="000000"/>
                </a:buClr>
                <a:buSzPts val="1400"/>
              </a:pPr>
              <a:r>
                <a:rPr lang="en-US" sz="1600" b="1" dirty="0">
                  <a:solidFill>
                    <a:schemeClr val="tx1"/>
                  </a:solidFill>
                  <a:latin typeface="Slate Pro" panose="02000506040000020004" pitchFamily="2" charset="0"/>
                  <a:sym typeface="Slate Pro" panose="02000506040000020004" pitchFamily="2" charset="0"/>
                </a:rPr>
                <a:t>Resellers</a:t>
              </a:r>
              <a:endParaRPr lang="en-US" sz="1600" dirty="0">
                <a:solidFill>
                  <a:schemeClr val="tx1"/>
                </a:solidFill>
                <a:latin typeface="Slate Pro" panose="02000506040000020004" pitchFamily="2" charset="0"/>
                <a:sym typeface="Slate Pro" panose="02000506040000020004" pitchFamily="2" charset="0"/>
              </a:endParaRPr>
            </a:p>
          </p:txBody>
        </p:sp>
        <p:grpSp>
          <p:nvGrpSpPr>
            <p:cNvPr id="53" name="Group 52">
              <a:extLst>
                <a:ext uri="{FF2B5EF4-FFF2-40B4-BE49-F238E27FC236}">
                  <a16:creationId xmlns:a16="http://schemas.microsoft.com/office/drawing/2014/main" id="{C6EC1A67-CC78-6891-C04D-B3089CEB022C}"/>
                </a:ext>
              </a:extLst>
            </p:cNvPr>
            <p:cNvGrpSpPr/>
            <p:nvPr/>
          </p:nvGrpSpPr>
          <p:grpSpPr>
            <a:xfrm>
              <a:off x="6010792" y="2151648"/>
              <a:ext cx="1280160" cy="1280160"/>
              <a:chOff x="6887700" y="1175852"/>
              <a:chExt cx="1280160" cy="1280160"/>
            </a:xfrm>
          </p:grpSpPr>
          <p:sp>
            <p:nvSpPr>
              <p:cNvPr id="54" name="Oval 53">
                <a:extLst>
                  <a:ext uri="{FF2B5EF4-FFF2-40B4-BE49-F238E27FC236}">
                    <a16:creationId xmlns:a16="http://schemas.microsoft.com/office/drawing/2014/main" id="{12B60B82-1D43-3502-2ACA-4834DB137110}"/>
                  </a:ext>
                </a:extLst>
              </p:cNvPr>
              <p:cNvSpPr/>
              <p:nvPr/>
            </p:nvSpPr>
            <p:spPr>
              <a:xfrm>
                <a:off x="6887700" y="1175852"/>
                <a:ext cx="1280160" cy="1280160"/>
              </a:xfrm>
              <a:prstGeom prst="ellipse">
                <a:avLst/>
              </a:prstGeom>
              <a:solidFill>
                <a:srgbClr val="FF88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pic>
            <p:nvPicPr>
              <p:cNvPr id="55" name="Google Shape;8750;p20" descr="Care with solid fill">
                <a:extLst>
                  <a:ext uri="{FF2B5EF4-FFF2-40B4-BE49-F238E27FC236}">
                    <a16:creationId xmlns:a16="http://schemas.microsoft.com/office/drawing/2014/main" id="{A2A37056-352A-8993-A5F9-474F67BD780E}"/>
                  </a:ext>
                </a:extLst>
              </p:cNvPr>
              <p:cNvPicPr preferRelativeResize="0"/>
              <p:nvPr/>
            </p:nvPicPr>
            <p:blipFill>
              <a:blip r:embed="rId8">
                <a:extLst>
                  <a:ext uri="{96DAC541-7B7A-43D3-8B79-37D633B846F1}">
                    <asvg:svgBlip xmlns:asvg="http://schemas.microsoft.com/office/drawing/2016/SVG/main" r:embed="rId9"/>
                  </a:ext>
                </a:extLst>
              </a:blip>
              <a:srcRect/>
              <a:stretch/>
            </p:blipFill>
            <p:spPr>
              <a:xfrm>
                <a:off x="7116265" y="1434483"/>
                <a:ext cx="823030" cy="762895"/>
              </a:xfrm>
              <a:prstGeom prst="rect">
                <a:avLst/>
              </a:prstGeom>
              <a:noFill/>
              <a:ln>
                <a:noFill/>
              </a:ln>
            </p:spPr>
          </p:pic>
        </p:grpSp>
        <p:sp>
          <p:nvSpPr>
            <p:cNvPr id="56" name="Google Shape;8751;p20">
              <a:extLst>
                <a:ext uri="{FF2B5EF4-FFF2-40B4-BE49-F238E27FC236}">
                  <a16:creationId xmlns:a16="http://schemas.microsoft.com/office/drawing/2014/main" id="{40102BA5-4B81-681B-F978-C61F4F8E0D0A}"/>
                </a:ext>
              </a:extLst>
            </p:cNvPr>
            <p:cNvSpPr txBox="1"/>
            <p:nvPr/>
          </p:nvSpPr>
          <p:spPr>
            <a:xfrm>
              <a:off x="5706271" y="3617124"/>
              <a:ext cx="1889203" cy="338514"/>
            </a:xfrm>
            <a:prstGeom prst="rect">
              <a:avLst/>
            </a:prstGeom>
            <a:noFill/>
            <a:ln>
              <a:noFill/>
            </a:ln>
          </p:spPr>
          <p:txBody>
            <a:bodyPr spcFirstLastPara="1" wrap="square" lIns="91425" tIns="45700" rIns="91425" bIns="45700" anchor="t" anchorCtr="0">
              <a:spAutoFit/>
            </a:bodyPr>
            <a:lstStyle/>
            <a:p>
              <a:pPr algn="ctr">
                <a:buSzPts val="1400"/>
              </a:pPr>
              <a:r>
                <a:rPr lang="en-US" sz="1600" b="1" dirty="0">
                  <a:solidFill>
                    <a:schemeClr val="tx1"/>
                  </a:solidFill>
                  <a:latin typeface="Slate Pro" panose="02000506040000020004" pitchFamily="2" charset="0"/>
                  <a:sym typeface="Slate Pro" panose="02000506040000020004" pitchFamily="2" charset="0"/>
                </a:rPr>
                <a:t>Support Partners</a:t>
              </a:r>
            </a:p>
          </p:txBody>
        </p:sp>
        <p:grpSp>
          <p:nvGrpSpPr>
            <p:cNvPr id="58" name="Group 57">
              <a:extLst>
                <a:ext uri="{FF2B5EF4-FFF2-40B4-BE49-F238E27FC236}">
                  <a16:creationId xmlns:a16="http://schemas.microsoft.com/office/drawing/2014/main" id="{B019A29F-0FCB-4005-37B7-0220B8CEEB49}"/>
                </a:ext>
              </a:extLst>
            </p:cNvPr>
            <p:cNvGrpSpPr/>
            <p:nvPr/>
          </p:nvGrpSpPr>
          <p:grpSpPr>
            <a:xfrm>
              <a:off x="590350" y="2151645"/>
              <a:ext cx="1280160" cy="1280160"/>
              <a:chOff x="1213417" y="1175852"/>
              <a:chExt cx="1280160" cy="1280160"/>
            </a:xfrm>
          </p:grpSpPr>
          <p:sp>
            <p:nvSpPr>
              <p:cNvPr id="59" name="Oval 58">
                <a:extLst>
                  <a:ext uri="{FF2B5EF4-FFF2-40B4-BE49-F238E27FC236}">
                    <a16:creationId xmlns:a16="http://schemas.microsoft.com/office/drawing/2014/main" id="{6D0FB5EC-9556-4BEC-AA55-3F806F463228}"/>
                  </a:ext>
                </a:extLst>
              </p:cNvPr>
              <p:cNvSpPr/>
              <p:nvPr/>
            </p:nvSpPr>
            <p:spPr>
              <a:xfrm>
                <a:off x="1213417" y="1175852"/>
                <a:ext cx="1280160" cy="1280160"/>
              </a:xfrm>
              <a:prstGeom prst="ellipse">
                <a:avLst/>
              </a:prstGeom>
              <a:solidFill>
                <a:srgbClr val="ABAEB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pic>
            <p:nvPicPr>
              <p:cNvPr id="60" name="Google Shape;8742;p20" descr="Ui Ux with solid fill">
                <a:extLst>
                  <a:ext uri="{FF2B5EF4-FFF2-40B4-BE49-F238E27FC236}">
                    <a16:creationId xmlns:a16="http://schemas.microsoft.com/office/drawing/2014/main" id="{8251BF2C-336D-0A78-7362-904666D06975}"/>
                  </a:ext>
                </a:extLst>
              </p:cNvPr>
              <p:cNvPicPr preferRelativeResize="0"/>
              <p:nvPr/>
            </p:nvPicPr>
            <p:blipFill>
              <a:blip r:embed="rId10">
                <a:extLst>
                  <a:ext uri="{96DAC541-7B7A-43D3-8B79-37D633B846F1}">
                    <asvg:svgBlip xmlns:asvg="http://schemas.microsoft.com/office/drawing/2016/SVG/main" r:embed="rId11"/>
                  </a:ext>
                </a:extLst>
              </a:blip>
              <a:srcRect/>
              <a:stretch/>
            </p:blipFill>
            <p:spPr>
              <a:xfrm>
                <a:off x="1395033" y="1365059"/>
                <a:ext cx="916929" cy="916929"/>
              </a:xfrm>
              <a:prstGeom prst="rect">
                <a:avLst/>
              </a:prstGeom>
              <a:noFill/>
              <a:ln>
                <a:noFill/>
              </a:ln>
            </p:spPr>
          </p:pic>
        </p:grpSp>
        <p:grpSp>
          <p:nvGrpSpPr>
            <p:cNvPr id="61" name="Group 60">
              <a:extLst>
                <a:ext uri="{FF2B5EF4-FFF2-40B4-BE49-F238E27FC236}">
                  <a16:creationId xmlns:a16="http://schemas.microsoft.com/office/drawing/2014/main" id="{500DD72B-72CD-0D44-9033-8DCF84B09903}"/>
                </a:ext>
              </a:extLst>
            </p:cNvPr>
            <p:cNvGrpSpPr/>
            <p:nvPr/>
          </p:nvGrpSpPr>
          <p:grpSpPr>
            <a:xfrm>
              <a:off x="8688800" y="2153963"/>
              <a:ext cx="1280160" cy="1280160"/>
              <a:chOff x="9722486" y="1175852"/>
              <a:chExt cx="1280160" cy="1280160"/>
            </a:xfrm>
          </p:grpSpPr>
          <p:sp>
            <p:nvSpPr>
              <p:cNvPr id="62" name="Oval 61">
                <a:extLst>
                  <a:ext uri="{FF2B5EF4-FFF2-40B4-BE49-F238E27FC236}">
                    <a16:creationId xmlns:a16="http://schemas.microsoft.com/office/drawing/2014/main" id="{7128FF5A-2247-1EA5-225D-FF330630ACDA}"/>
                  </a:ext>
                </a:extLst>
              </p:cNvPr>
              <p:cNvSpPr/>
              <p:nvPr/>
            </p:nvSpPr>
            <p:spPr>
              <a:xfrm>
                <a:off x="9722486" y="1175852"/>
                <a:ext cx="1280160" cy="1280160"/>
              </a:xfrm>
              <a:prstGeom prst="ellips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pic>
            <p:nvPicPr>
              <p:cNvPr id="63" name="Google Shape;8750;p20" descr="Qr Code with solid fill">
                <a:extLst>
                  <a:ext uri="{FF2B5EF4-FFF2-40B4-BE49-F238E27FC236}">
                    <a16:creationId xmlns:a16="http://schemas.microsoft.com/office/drawing/2014/main" id="{36DD7BD4-EC5E-AC9A-FBC7-6CCA1DA1553D}"/>
                  </a:ext>
                </a:extLst>
              </p:cNvPr>
              <p:cNvPicPr preferRelativeResize="0"/>
              <p:nvPr/>
            </p:nvPicPr>
            <p:blipFill>
              <a:blip r:embed="rId12">
                <a:extLst>
                  <a:ext uri="{96DAC541-7B7A-43D3-8B79-37D633B846F1}">
                    <asvg:svgBlip xmlns:asvg="http://schemas.microsoft.com/office/drawing/2016/SVG/main" r:embed="rId13"/>
                  </a:ext>
                </a:extLst>
              </a:blip>
              <a:srcRect/>
              <a:stretch/>
            </p:blipFill>
            <p:spPr>
              <a:xfrm>
                <a:off x="9967516" y="1403147"/>
                <a:ext cx="790101" cy="825569"/>
              </a:xfrm>
              <a:prstGeom prst="rect">
                <a:avLst/>
              </a:prstGeom>
              <a:noFill/>
              <a:ln>
                <a:noFill/>
              </a:ln>
            </p:spPr>
          </p:pic>
        </p:grpSp>
        <p:sp>
          <p:nvSpPr>
            <p:cNvPr id="64" name="Google Shape;8751;p20">
              <a:extLst>
                <a:ext uri="{FF2B5EF4-FFF2-40B4-BE49-F238E27FC236}">
                  <a16:creationId xmlns:a16="http://schemas.microsoft.com/office/drawing/2014/main" id="{9E54DF06-90ED-74EA-3482-49D9BE9FEEE7}"/>
                </a:ext>
              </a:extLst>
            </p:cNvPr>
            <p:cNvSpPr txBox="1"/>
            <p:nvPr/>
          </p:nvSpPr>
          <p:spPr>
            <a:xfrm>
              <a:off x="8185881" y="3617124"/>
              <a:ext cx="2285999" cy="584735"/>
            </a:xfrm>
            <a:prstGeom prst="rect">
              <a:avLst/>
            </a:prstGeom>
            <a:noFill/>
            <a:ln>
              <a:noFill/>
            </a:ln>
          </p:spPr>
          <p:txBody>
            <a:bodyPr spcFirstLastPara="1" wrap="square" lIns="91425" tIns="45700" rIns="91425" bIns="45700" anchor="t" anchorCtr="0">
              <a:spAutoFit/>
            </a:bodyPr>
            <a:lstStyle/>
            <a:p>
              <a:pPr algn="ctr">
                <a:buSzPts val="1400"/>
              </a:pPr>
              <a:r>
                <a:rPr lang="en-US" sz="1600" b="1" dirty="0">
                  <a:solidFill>
                    <a:schemeClr val="tx1"/>
                  </a:solidFill>
                  <a:latin typeface="Slate Pro" panose="02000506040000020004" pitchFamily="2" charset="0"/>
                  <a:sym typeface="Slate Pro" panose="02000506040000020004" pitchFamily="2" charset="0"/>
                </a:rPr>
                <a:t>Solution/Technology Partners</a:t>
              </a:r>
            </a:p>
          </p:txBody>
        </p:sp>
        <p:cxnSp>
          <p:nvCxnSpPr>
            <p:cNvPr id="66" name="Straight Connector 65">
              <a:extLst>
                <a:ext uri="{FF2B5EF4-FFF2-40B4-BE49-F238E27FC236}">
                  <a16:creationId xmlns:a16="http://schemas.microsoft.com/office/drawing/2014/main" id="{8948DB6E-011D-1C10-8DFB-A8218D69CB7E}"/>
                </a:ext>
              </a:extLst>
            </p:cNvPr>
            <p:cNvCxnSpPr>
              <a:cxnSpLocks/>
            </p:cNvCxnSpPr>
            <p:nvPr/>
          </p:nvCxnSpPr>
          <p:spPr>
            <a:xfrm>
              <a:off x="2474049" y="2410279"/>
              <a:ext cx="0" cy="3900880"/>
            </a:xfrm>
            <a:prstGeom prst="line">
              <a:avLst/>
            </a:prstGeom>
            <a:ln>
              <a:solidFill>
                <a:schemeClr val="tx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A741072-721C-BF41-E8D7-2F534D0139F0}"/>
                </a:ext>
              </a:extLst>
            </p:cNvPr>
            <p:cNvCxnSpPr>
              <a:cxnSpLocks/>
            </p:cNvCxnSpPr>
            <p:nvPr/>
          </p:nvCxnSpPr>
          <p:spPr>
            <a:xfrm>
              <a:off x="5219792" y="2443621"/>
              <a:ext cx="0" cy="3900880"/>
            </a:xfrm>
            <a:prstGeom prst="line">
              <a:avLst/>
            </a:prstGeom>
            <a:ln>
              <a:solidFill>
                <a:schemeClr val="tx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708503D-D0A4-CC03-AFF5-F79F5D000C69}"/>
                </a:ext>
              </a:extLst>
            </p:cNvPr>
            <p:cNvCxnSpPr>
              <a:cxnSpLocks/>
            </p:cNvCxnSpPr>
            <p:nvPr/>
          </p:nvCxnSpPr>
          <p:spPr>
            <a:xfrm>
              <a:off x="7932613" y="2410279"/>
              <a:ext cx="0" cy="3900880"/>
            </a:xfrm>
            <a:prstGeom prst="line">
              <a:avLst/>
            </a:prstGeom>
            <a:ln>
              <a:solidFill>
                <a:schemeClr val="tx2">
                  <a:lumMod val="90000"/>
                </a:schemeClr>
              </a:solidFill>
            </a:ln>
          </p:spPr>
          <p:style>
            <a:lnRef idx="1">
              <a:schemeClr val="accent1"/>
            </a:lnRef>
            <a:fillRef idx="0">
              <a:schemeClr val="accent1"/>
            </a:fillRef>
            <a:effectRef idx="0">
              <a:schemeClr val="accent1"/>
            </a:effectRef>
            <a:fontRef idx="minor">
              <a:schemeClr val="tx1"/>
            </a:fontRef>
          </p:style>
        </p:cxnSp>
        <p:sp>
          <p:nvSpPr>
            <p:cNvPr id="4" name="Google Shape;8740;p20">
              <a:extLst>
                <a:ext uri="{FF2B5EF4-FFF2-40B4-BE49-F238E27FC236}">
                  <a16:creationId xmlns:a16="http://schemas.microsoft.com/office/drawing/2014/main" id="{BBC12316-D9F9-62C1-9AA8-050152E5E8DF}"/>
                </a:ext>
              </a:extLst>
            </p:cNvPr>
            <p:cNvSpPr txBox="1"/>
            <p:nvPr/>
          </p:nvSpPr>
          <p:spPr>
            <a:xfrm>
              <a:off x="2870413" y="4360719"/>
              <a:ext cx="2103120" cy="1754286"/>
            </a:xfrm>
            <a:prstGeom prst="rect">
              <a:avLst/>
            </a:prstGeom>
            <a:noFill/>
            <a:ln>
              <a:noFill/>
            </a:ln>
          </p:spPr>
          <p:txBody>
            <a:bodyPr spcFirstLastPara="1" wrap="square" lIns="0" tIns="45700" rIns="0" bIns="45700" anchor="t" anchorCtr="0">
              <a:spAutoFit/>
            </a:bodyPr>
            <a:lstStyle/>
            <a:p>
              <a:pPr lvl="1" algn="l" rtl="0">
                <a:lnSpc>
                  <a:spcPct val="150000"/>
                </a:lnSpc>
                <a:buClr>
                  <a:srgbClr val="000000"/>
                </a:buClr>
                <a:buSzPts val="1200"/>
              </a:pPr>
              <a:r>
                <a:rPr lang="en-US" sz="1200" dirty="0">
                  <a:solidFill>
                    <a:schemeClr val="tx1"/>
                  </a:solidFill>
                  <a:latin typeface="Slate Pro" panose="02000506040000020004" pitchFamily="2" charset="0"/>
                  <a:sym typeface="Slate Pro" panose="02000506040000020004" pitchFamily="2" charset="0"/>
                </a:rPr>
                <a:t>This includes organizations that provide planning, design, implementation, and project management for customers that are implementing one of ACME's many products. </a:t>
              </a:r>
              <a:endParaRPr lang="en-US" sz="1200" b="1" dirty="0">
                <a:solidFill>
                  <a:schemeClr val="tx1"/>
                </a:solidFill>
                <a:latin typeface="Slate Pro" panose="02000506040000020004" pitchFamily="2" charset="0"/>
                <a:sym typeface="Slate Pro" panose="02000506040000020004" pitchFamily="2" charset="0"/>
              </a:endParaRPr>
            </a:p>
          </p:txBody>
        </p:sp>
        <p:sp>
          <p:nvSpPr>
            <p:cNvPr id="5" name="Google Shape;8744;p20">
              <a:extLst>
                <a:ext uri="{FF2B5EF4-FFF2-40B4-BE49-F238E27FC236}">
                  <a16:creationId xmlns:a16="http://schemas.microsoft.com/office/drawing/2014/main" id="{AC896350-3E9A-54FD-BB34-EC4020B8327A}"/>
                </a:ext>
              </a:extLst>
            </p:cNvPr>
            <p:cNvSpPr txBox="1"/>
            <p:nvPr/>
          </p:nvSpPr>
          <p:spPr>
            <a:xfrm>
              <a:off x="178870" y="4360719"/>
              <a:ext cx="2103120" cy="2308284"/>
            </a:xfrm>
            <a:prstGeom prst="rect">
              <a:avLst/>
            </a:prstGeom>
            <a:noFill/>
            <a:ln>
              <a:noFill/>
            </a:ln>
          </p:spPr>
          <p:txBody>
            <a:bodyPr spcFirstLastPara="1" wrap="square" lIns="0" tIns="45700" rIns="0" bIns="45700" anchor="t" anchorCtr="0">
              <a:spAutoFit/>
            </a:bodyPr>
            <a:lstStyle/>
            <a:p>
              <a:pPr lvl="1" algn="l" rtl="0">
                <a:lnSpc>
                  <a:spcPct val="150000"/>
                </a:lnSpc>
                <a:buClr>
                  <a:srgbClr val="000000"/>
                </a:buClr>
                <a:buSzPts val="1200"/>
              </a:pPr>
              <a:r>
                <a:rPr lang="en-US" sz="1200" dirty="0">
                  <a:solidFill>
                    <a:schemeClr val="tx1"/>
                  </a:solidFill>
                  <a:latin typeface="Slate Pro" panose="02000506040000020004" pitchFamily="2" charset="0"/>
                  <a:sym typeface="Slate Pro" panose="02000506040000020004" pitchFamily="2" charset="0"/>
                </a:rPr>
                <a:t>This includes organizations that sell an ACME product to indirect customers, sometimes adding customized products or services. Resellers will make money by receiving discounts off the list price, or by commission.</a:t>
              </a:r>
              <a:endParaRPr lang="en-US" sz="1200" b="1" dirty="0">
                <a:solidFill>
                  <a:schemeClr val="tx1"/>
                </a:solidFill>
                <a:latin typeface="Slate Pro" panose="02000506040000020004" pitchFamily="2" charset="0"/>
                <a:sym typeface="Slate Pro" panose="02000506040000020004" pitchFamily="2" charset="0"/>
              </a:endParaRPr>
            </a:p>
          </p:txBody>
        </p:sp>
        <p:sp>
          <p:nvSpPr>
            <p:cNvPr id="6" name="Google Shape;8752;p20">
              <a:extLst>
                <a:ext uri="{FF2B5EF4-FFF2-40B4-BE49-F238E27FC236}">
                  <a16:creationId xmlns:a16="http://schemas.microsoft.com/office/drawing/2014/main" id="{3D8E3C86-900E-12BA-887D-C492267663BD}"/>
                </a:ext>
              </a:extLst>
            </p:cNvPr>
            <p:cNvSpPr txBox="1"/>
            <p:nvPr/>
          </p:nvSpPr>
          <p:spPr>
            <a:xfrm>
              <a:off x="5599312" y="4360719"/>
              <a:ext cx="2103120" cy="2031285"/>
            </a:xfrm>
            <a:prstGeom prst="rect">
              <a:avLst/>
            </a:prstGeom>
            <a:noFill/>
            <a:ln>
              <a:noFill/>
            </a:ln>
          </p:spPr>
          <p:txBody>
            <a:bodyPr spcFirstLastPara="1" wrap="square" lIns="0" tIns="45700" rIns="0" bIns="45700" anchor="t" anchorCtr="0">
              <a:spAutoFit/>
            </a:bodyPr>
            <a:lstStyle/>
            <a:p>
              <a:pPr lvl="1" algn="l" rtl="0">
                <a:lnSpc>
                  <a:spcPct val="150000"/>
                </a:lnSpc>
                <a:buClr>
                  <a:srgbClr val="000000"/>
                </a:buClr>
                <a:buSzPts val="1200"/>
              </a:pPr>
              <a:r>
                <a:rPr lang="en-US" sz="1200" dirty="0">
                  <a:solidFill>
                    <a:schemeClr val="tx1"/>
                  </a:solidFill>
                  <a:latin typeface="Slate Pro" panose="02000506040000020004" pitchFamily="2" charset="0"/>
                  <a:sym typeface="Slate Pro" panose="02000506040000020004" pitchFamily="2" charset="0"/>
                </a:rPr>
                <a:t>This includes organizations that provide Tier 1 and sometimes Tier 2 support to ACME end customers. These Partners often receive the first call to resolve issues and maintain customer satisfaction.</a:t>
              </a:r>
            </a:p>
          </p:txBody>
        </p:sp>
        <p:sp>
          <p:nvSpPr>
            <p:cNvPr id="7" name="Google Shape;8752;p20">
              <a:extLst>
                <a:ext uri="{FF2B5EF4-FFF2-40B4-BE49-F238E27FC236}">
                  <a16:creationId xmlns:a16="http://schemas.microsoft.com/office/drawing/2014/main" id="{85A1D8AC-085C-F4EA-FF8A-23FC840843DE}"/>
                </a:ext>
              </a:extLst>
            </p:cNvPr>
            <p:cNvSpPr txBox="1"/>
            <p:nvPr/>
          </p:nvSpPr>
          <p:spPr>
            <a:xfrm>
              <a:off x="8277320" y="4360719"/>
              <a:ext cx="2103120" cy="2585283"/>
            </a:xfrm>
            <a:prstGeom prst="rect">
              <a:avLst/>
            </a:prstGeom>
            <a:noFill/>
            <a:ln>
              <a:noFill/>
            </a:ln>
          </p:spPr>
          <p:txBody>
            <a:bodyPr spcFirstLastPara="1" wrap="square" lIns="0" tIns="45700" rIns="0" bIns="45700" anchor="t" anchorCtr="0">
              <a:spAutoFit/>
            </a:bodyPr>
            <a:lstStyle/>
            <a:p>
              <a:pPr lvl="1" algn="l" rtl="0">
                <a:lnSpc>
                  <a:spcPct val="150000"/>
                </a:lnSpc>
                <a:buClr>
                  <a:srgbClr val="000000"/>
                </a:buClr>
                <a:buSzPts val="1200"/>
              </a:pPr>
              <a:r>
                <a:rPr lang="en-US" sz="1200" dirty="0">
                  <a:solidFill>
                    <a:schemeClr val="tx1"/>
                  </a:solidFill>
                  <a:latin typeface="Slate Pro" panose="02000506040000020004" pitchFamily="2" charset="0"/>
                  <a:sym typeface="Slate Pro" panose="02000506040000020004" pitchFamily="2" charset="0"/>
                </a:rPr>
                <a:t>This includes software companies that build integrations with ACME products/solutions. Often called independent software vendors, these Partners integrate their products with ACME products into full solutions that provide customers with a more comprehensive user experience. </a:t>
              </a:r>
            </a:p>
          </p:txBody>
        </p:sp>
      </p:grpSp>
      <p:sp>
        <p:nvSpPr>
          <p:cNvPr id="8" name="Holder 4">
            <a:extLst>
              <a:ext uri="{FF2B5EF4-FFF2-40B4-BE49-F238E27FC236}">
                <a16:creationId xmlns:a16="http://schemas.microsoft.com/office/drawing/2014/main" id="{6AF6BB10-D77D-9BEC-4951-3A02A37F1DDE}"/>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18AD0258-1AA9-1DBB-90A0-769DF15AE59D}"/>
              </a:ext>
            </a:extLst>
          </p:cNvPr>
          <p:cNvSpPr txBox="1"/>
          <p:nvPr/>
        </p:nvSpPr>
        <p:spPr>
          <a:xfrm>
            <a:off x="502922" y="1234191"/>
            <a:ext cx="9775769" cy="738664"/>
          </a:xfrm>
          <a:prstGeom prst="rect">
            <a:avLst/>
          </a:prstGeom>
          <a:noFill/>
        </p:spPr>
        <p:txBody>
          <a:bodyPr wrap="square" lIns="0">
            <a:spAutoFit/>
          </a:bodyPr>
          <a:lstStyle/>
          <a:p>
            <a:pPr algn="l"/>
            <a:r>
              <a:rPr lang="en-US" sz="1400" dirty="0">
                <a:latin typeface="Slate Pro" panose="02000506040000020004" pitchFamily="2" charset="0"/>
                <a:sym typeface="Slate Pro" panose="02000506040000020004" pitchFamily="2" charset="0"/>
              </a:rPr>
              <a:t>ACME's Partner Program is made up of different types of Partners, some of whom wear one hat, some multiple. The below covers the four types of Partners ACME primarily engages. Regardless of your Partner type, ACME is committed to helping you maximize your success through the Partner program.</a:t>
            </a:r>
          </a:p>
        </p:txBody>
      </p:sp>
      <p:grpSp>
        <p:nvGrpSpPr>
          <p:cNvPr id="15" name="Group 14">
            <a:extLst>
              <a:ext uri="{FF2B5EF4-FFF2-40B4-BE49-F238E27FC236}">
                <a16:creationId xmlns:a16="http://schemas.microsoft.com/office/drawing/2014/main" id="{E8AA0AF3-CB4E-EBE3-1899-27E2C2B68CC3}"/>
              </a:ext>
            </a:extLst>
          </p:cNvPr>
          <p:cNvGrpSpPr/>
          <p:nvPr/>
        </p:nvGrpSpPr>
        <p:grpSpPr>
          <a:xfrm>
            <a:off x="157427" y="7205390"/>
            <a:ext cx="2416310" cy="276999"/>
            <a:chOff x="157428" y="7205390"/>
            <a:chExt cx="2132373" cy="276999"/>
          </a:xfrm>
        </p:grpSpPr>
        <p:sp>
          <p:nvSpPr>
            <p:cNvPr id="16" name="TextBox 15">
              <a:hlinkClick r:id="rId14" action="ppaction://hlinksldjump"/>
              <a:extLst>
                <a:ext uri="{FF2B5EF4-FFF2-40B4-BE49-F238E27FC236}">
                  <a16:creationId xmlns:a16="http://schemas.microsoft.com/office/drawing/2014/main" id="{4BA40B35-217A-FBD1-A7F0-82898630F759}"/>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7" name="Arrow: Right 16">
              <a:extLst>
                <a:ext uri="{FF2B5EF4-FFF2-40B4-BE49-F238E27FC236}">
                  <a16:creationId xmlns:a16="http://schemas.microsoft.com/office/drawing/2014/main" id="{1049DF2D-BE16-E0FA-B534-CF2EFC680F18}"/>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634132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179B6E9-5760-21B9-4ABA-BE5561BADBBB}"/>
              </a:ext>
            </a:extLst>
          </p:cNvPr>
          <p:cNvGraphicFramePr>
            <a:graphicFrameLocks noChangeAspect="1"/>
          </p:cNvGraphicFramePr>
          <p:nvPr>
            <p:custDataLst>
              <p:tags r:id="rId1"/>
            </p:custDataLst>
            <p:extLst>
              <p:ext uri="{D42A27DB-BD31-4B8C-83A1-F6EECF244321}">
                <p14:modId xmlns:p14="http://schemas.microsoft.com/office/powerpoint/2010/main" val="25347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 name="Object 18" hidden="1">
                        <a:extLst>
                          <a:ext uri="{FF2B5EF4-FFF2-40B4-BE49-F238E27FC236}">
                            <a16:creationId xmlns:a16="http://schemas.microsoft.com/office/drawing/2014/main" id="{B179B6E9-5760-21B9-4ABA-BE5561BADB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bject 7"/>
          <p:cNvSpPr txBox="1">
            <a:spLocks noGrp="1"/>
          </p:cNvSpPr>
          <p:nvPr>
            <p:ph type="title"/>
          </p:nvPr>
        </p:nvSpPr>
        <p:spPr>
          <a:xfrm>
            <a:off x="506301" y="402336"/>
            <a:ext cx="3164205" cy="1011815"/>
          </a:xfrm>
          <a:prstGeom prst="rect">
            <a:avLst/>
          </a:prstGeom>
        </p:spPr>
        <p:txBody>
          <a:bodyPr vert="horz" wrap="square" lIns="0" tIns="113030" rIns="0" bIns="0" rtlCol="0">
            <a:spAutoFit/>
          </a:bodyPr>
          <a:lstStyle/>
          <a:p>
            <a:pPr marL="12700" marR="5080">
              <a:lnSpc>
                <a:spcPts val="3450"/>
              </a:lnSpc>
              <a:spcBef>
                <a:spcPts val="890"/>
              </a:spcBef>
            </a:pPr>
            <a:r>
              <a:rPr lang="en-US" sz="3200" dirty="0">
                <a:solidFill>
                  <a:srgbClr val="5A87C5"/>
                </a:solidFill>
              </a:rPr>
              <a:t>Path To Partnership </a:t>
            </a:r>
            <a:endParaRPr sz="3200" dirty="0">
              <a:solidFill>
                <a:srgbClr val="5A87C5"/>
              </a:solidFill>
            </a:endParaRPr>
          </a:p>
        </p:txBody>
      </p:sp>
      <p:sp>
        <p:nvSpPr>
          <p:cNvPr id="17" name="object 17"/>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8</a:t>
            </a:fld>
            <a:endParaRPr spc="-25"/>
          </a:p>
        </p:txBody>
      </p:sp>
      <p:sp>
        <p:nvSpPr>
          <p:cNvPr id="23" name="object 13">
            <a:extLst>
              <a:ext uri="{FF2B5EF4-FFF2-40B4-BE49-F238E27FC236}">
                <a16:creationId xmlns:a16="http://schemas.microsoft.com/office/drawing/2014/main" id="{D5785A38-50A5-09E0-6F7F-A96EF77E7255}"/>
              </a:ext>
            </a:extLst>
          </p:cNvPr>
          <p:cNvSpPr/>
          <p:nvPr/>
        </p:nvSpPr>
        <p:spPr>
          <a:xfrm>
            <a:off x="201554" y="265113"/>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4" name="object 14">
            <a:extLst>
              <a:ext uri="{FF2B5EF4-FFF2-40B4-BE49-F238E27FC236}">
                <a16:creationId xmlns:a16="http://schemas.microsoft.com/office/drawing/2014/main" id="{804BB7A6-8460-F4D1-4629-9A6F1BB28B49}"/>
              </a:ext>
            </a:extLst>
          </p:cNvPr>
          <p:cNvSpPr/>
          <p:nvPr/>
        </p:nvSpPr>
        <p:spPr>
          <a:xfrm>
            <a:off x="201554" y="343640"/>
            <a:ext cx="130810" cy="0"/>
          </a:xfrm>
          <a:custGeom>
            <a:avLst/>
            <a:gdLst/>
            <a:ahLst/>
            <a:cxnLst/>
            <a:rect l="l" t="t" r="r" b="b"/>
            <a:pathLst>
              <a:path w="130810">
                <a:moveTo>
                  <a:pt x="0" y="0"/>
                </a:moveTo>
                <a:lnTo>
                  <a:pt x="130225" y="0"/>
                </a:lnTo>
              </a:path>
            </a:pathLst>
          </a:custGeom>
          <a:solidFill>
            <a:srgbClr val="ABAEB7"/>
          </a:solidFill>
          <a:ln w="16509">
            <a:solidFill>
              <a:srgbClr val="FFFFFF"/>
            </a:solidFill>
          </a:ln>
        </p:spPr>
        <p:txBody>
          <a:bodyPr wrap="square" lIns="0" tIns="0" rIns="0" bIns="0" rtlCol="0"/>
          <a:lstStyle/>
          <a:p>
            <a:endParaRPr>
              <a:latin typeface="Slate Pro" panose="02000506040000020004" pitchFamily="2" charset="0"/>
              <a:sym typeface="Slate Pro" panose="02000506040000020004" pitchFamily="2" charset="0"/>
            </a:endParaRPr>
          </a:p>
        </p:txBody>
      </p:sp>
      <p:sp>
        <p:nvSpPr>
          <p:cNvPr id="2" name="object 9">
            <a:extLst>
              <a:ext uri="{FF2B5EF4-FFF2-40B4-BE49-F238E27FC236}">
                <a16:creationId xmlns:a16="http://schemas.microsoft.com/office/drawing/2014/main" id="{58503AA5-26F6-585F-D8F0-1F4B96F4BDEA}"/>
              </a:ext>
            </a:extLst>
          </p:cNvPr>
          <p:cNvSpPr txBox="1"/>
          <p:nvPr/>
        </p:nvSpPr>
        <p:spPr>
          <a:xfrm>
            <a:off x="506301" y="2067343"/>
            <a:ext cx="3659301" cy="3878754"/>
          </a:xfrm>
          <a:prstGeom prst="rect">
            <a:avLst/>
          </a:prstGeom>
        </p:spPr>
        <p:txBody>
          <a:bodyPr vert="horz" wrap="square" lIns="0" tIns="20320" rIns="0" bIns="0" rtlCol="0">
            <a:spAutoFit/>
          </a:bodyPr>
          <a:lstStyle/>
          <a:p>
            <a:pPr marL="12700" marR="5080" algn="l">
              <a:lnSpc>
                <a:spcPct val="117400"/>
              </a:lnSpc>
              <a:spcBef>
                <a:spcPts val="760"/>
              </a:spcBef>
            </a:pPr>
            <a:r>
              <a:rPr lang="en-US" sz="1200" dirty="0">
                <a:latin typeface="Slate Pro" panose="02000506040000020004" pitchFamily="2" charset="0"/>
                <a:cs typeface="Arial"/>
                <a:sym typeface="Slate Pro" panose="02000506040000020004" pitchFamily="2" charset="0"/>
              </a:rPr>
              <a:t>ACME is in the process of building out a world-class Partner program over the next few years. As part of this journey, we will be assigning Partners to different tiers and markets based on past performance and geographic location. Partners will have different requirements and expectations based on those tiers. These requirements include training, certifications, and sales targets.</a:t>
            </a:r>
          </a:p>
          <a:p>
            <a:pPr marL="12700" marR="5080" algn="l">
              <a:lnSpc>
                <a:spcPct val="117400"/>
              </a:lnSpc>
              <a:spcBef>
                <a:spcPts val="760"/>
              </a:spcBef>
            </a:pPr>
            <a:r>
              <a:rPr lang="en-US" sz="1200" dirty="0">
                <a:latin typeface="Slate Pro" panose="02000506040000020004" pitchFamily="2" charset="0"/>
                <a:cs typeface="Arial"/>
                <a:sym typeface="Slate Pro" panose="02000506040000020004" pitchFamily="2" charset="0"/>
              </a:rPr>
              <a:t>Over the next 12 months, ACME will be launching its new Partner program. It will consistently refine and enhance this program to help Partners sell to and serve customers more effectively. </a:t>
            </a:r>
          </a:p>
          <a:p>
            <a:pPr marL="12700" marR="5080" algn="l">
              <a:lnSpc>
                <a:spcPct val="117400"/>
              </a:lnSpc>
              <a:spcBef>
                <a:spcPts val="760"/>
              </a:spcBef>
            </a:pPr>
            <a:r>
              <a:rPr lang="en-US" sz="1200" dirty="0">
                <a:latin typeface="Slate Pro" panose="02000506040000020004" pitchFamily="2" charset="0"/>
                <a:cs typeface="Arial"/>
                <a:sym typeface="Slate Pro" panose="02000506040000020004" pitchFamily="2" charset="0"/>
              </a:rPr>
              <a:t>This iterative approach will facilitate a smoother rollout of the program. It also means that following the initial year of the program, ACME will alter components of the program, incorporating your feedback, to provide a more robust and productive Partner experience for you and others in the years to come.</a:t>
            </a:r>
          </a:p>
        </p:txBody>
      </p:sp>
      <p:pic>
        <p:nvPicPr>
          <p:cNvPr id="13" name="Picture 12" descr="Men on video conference call in office">
            <a:extLst>
              <a:ext uri="{FF2B5EF4-FFF2-40B4-BE49-F238E27FC236}">
                <a16:creationId xmlns:a16="http://schemas.microsoft.com/office/drawing/2014/main" id="{22FEBC9B-542F-6122-87FC-F2D52AE8855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922876" y="0"/>
            <a:ext cx="5761125" cy="7068312"/>
          </a:xfrm>
          <a:prstGeom prst="rect">
            <a:avLst/>
          </a:prstGeom>
        </p:spPr>
      </p:pic>
      <p:sp>
        <p:nvSpPr>
          <p:cNvPr id="5" name="TextBox 4">
            <a:extLst>
              <a:ext uri="{FF2B5EF4-FFF2-40B4-BE49-F238E27FC236}">
                <a16:creationId xmlns:a16="http://schemas.microsoft.com/office/drawing/2014/main" id="{37FE71BE-6BB1-4976-7DAC-3A6424B4CD98}"/>
              </a:ext>
            </a:extLst>
          </p:cNvPr>
          <p:cNvSpPr txBox="1"/>
          <p:nvPr/>
        </p:nvSpPr>
        <p:spPr>
          <a:xfrm>
            <a:off x="419541" y="1675455"/>
            <a:ext cx="4102765" cy="311695"/>
          </a:xfrm>
          <a:prstGeom prst="rect">
            <a:avLst/>
          </a:prstGeom>
          <a:noFill/>
        </p:spPr>
        <p:txBody>
          <a:bodyPr wrap="none" rIns="0">
            <a:noAutofit/>
          </a:bodyPr>
          <a:lstStyle/>
          <a:p>
            <a:pPr marL="12700" marR="1223645" algn="l">
              <a:lnSpc>
                <a:spcPts val="1550"/>
              </a:lnSpc>
              <a:spcBef>
                <a:spcPts val="160"/>
              </a:spcBef>
            </a:pPr>
            <a:r>
              <a:rPr lang="en-US" b="1" spc="-30" dirty="0">
                <a:latin typeface="Slate Pro" panose="02000506040000020004" pitchFamily="2" charset="0"/>
                <a:cs typeface="Arial"/>
                <a:sym typeface="Slate Pro" panose="02000506040000020004" pitchFamily="2" charset="0"/>
              </a:rPr>
              <a:t>What does Partnership look like?</a:t>
            </a:r>
            <a:endParaRPr lang="en-US" dirty="0">
              <a:latin typeface="Slate Pro" panose="02000506040000020004" pitchFamily="2" charset="0"/>
              <a:cs typeface="Arial"/>
              <a:sym typeface="Slate Pro" panose="02000506040000020004" pitchFamily="2" charset="0"/>
            </a:endParaRPr>
          </a:p>
        </p:txBody>
      </p:sp>
      <p:sp>
        <p:nvSpPr>
          <p:cNvPr id="4" name="Holder 4">
            <a:extLst>
              <a:ext uri="{FF2B5EF4-FFF2-40B4-BE49-F238E27FC236}">
                <a16:creationId xmlns:a16="http://schemas.microsoft.com/office/drawing/2014/main" id="{29F2AE6C-D52D-C869-37B3-1AE5B71B7D21}"/>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2D5CBDCB-720C-368F-F97E-80B5142C477E}"/>
              </a:ext>
            </a:extLst>
          </p:cNvPr>
          <p:cNvGrpSpPr/>
          <p:nvPr/>
        </p:nvGrpSpPr>
        <p:grpSpPr>
          <a:xfrm>
            <a:off x="157427" y="7205390"/>
            <a:ext cx="2416310" cy="276999"/>
            <a:chOff x="157428" y="7205390"/>
            <a:chExt cx="2132373" cy="276999"/>
          </a:xfrm>
        </p:grpSpPr>
        <p:sp>
          <p:nvSpPr>
            <p:cNvPr id="11" name="TextBox 10">
              <a:hlinkClick r:id="rId7" action="ppaction://hlinksldjump"/>
              <a:extLst>
                <a:ext uri="{FF2B5EF4-FFF2-40B4-BE49-F238E27FC236}">
                  <a16:creationId xmlns:a16="http://schemas.microsoft.com/office/drawing/2014/main" id="{C2FC0839-B5D1-AF29-DF04-32E68B95EDE1}"/>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2" name="Arrow: Right 11">
              <a:extLst>
                <a:ext uri="{FF2B5EF4-FFF2-40B4-BE49-F238E27FC236}">
                  <a16:creationId xmlns:a16="http://schemas.microsoft.com/office/drawing/2014/main" id="{52E35730-9A7F-C4D6-CF61-A3776233821B}"/>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8644272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FBF9799-1637-E275-5EDB-35447EDA391D}"/>
              </a:ext>
            </a:extLst>
          </p:cNvPr>
          <p:cNvGraphicFramePr>
            <a:graphicFrameLocks noChangeAspect="1"/>
          </p:cNvGraphicFramePr>
          <p:nvPr>
            <p:custDataLst>
              <p:tags r:id="rId1"/>
            </p:custDataLst>
            <p:extLst>
              <p:ext uri="{D42A27DB-BD31-4B8C-83A1-F6EECF244321}">
                <p14:modId xmlns:p14="http://schemas.microsoft.com/office/powerpoint/2010/main" val="52196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6" name="Object 15" hidden="1">
                        <a:extLst>
                          <a:ext uri="{FF2B5EF4-FFF2-40B4-BE49-F238E27FC236}">
                            <a16:creationId xmlns:a16="http://schemas.microsoft.com/office/drawing/2014/main" id="{5FBF9799-1637-E275-5EDB-35447EDA3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bject 14"/>
          <p:cNvSpPr txBox="1">
            <a:spLocks noGrp="1"/>
          </p:cNvSpPr>
          <p:nvPr>
            <p:ph type="sldNum" sz="quarter" idx="7"/>
          </p:nvPr>
        </p:nvSpPr>
        <p:spPr>
          <a:xfrm>
            <a:off x="9956610" y="7265289"/>
            <a:ext cx="243204" cy="143052"/>
          </a:xfrm>
          <a:prstGeom prst="rect">
            <a:avLst/>
          </a:prstGeom>
        </p:spPr>
        <p:txBody>
          <a:bodyPr vert="horz" wrap="square" lIns="0" tIns="0" rIns="0" bIns="0" rtlCol="0">
            <a:spAutoFit/>
          </a:bodyPr>
          <a:lstStyle/>
          <a:p>
            <a:pPr marL="38100">
              <a:lnSpc>
                <a:spcPts val="1115"/>
              </a:lnSpc>
            </a:pPr>
            <a:fld id="{81D60167-4931-47E6-BA6A-407CBD079E47}" type="slidenum">
              <a:rPr spc="-25"/>
              <a:pPr marL="38100">
                <a:lnSpc>
                  <a:spcPts val="1115"/>
                </a:lnSpc>
              </a:pPr>
              <a:t>9</a:t>
            </a:fld>
            <a:endParaRPr spc="-25"/>
          </a:p>
        </p:txBody>
      </p:sp>
      <p:graphicFrame>
        <p:nvGraphicFramePr>
          <p:cNvPr id="22" name="Table 4">
            <a:extLst>
              <a:ext uri="{FF2B5EF4-FFF2-40B4-BE49-F238E27FC236}">
                <a16:creationId xmlns:a16="http://schemas.microsoft.com/office/drawing/2014/main" id="{D20C9A8B-8994-2F9C-ECFA-424E36DBFB8B}"/>
              </a:ext>
            </a:extLst>
          </p:cNvPr>
          <p:cNvGraphicFramePr>
            <a:graphicFrameLocks noGrp="1"/>
          </p:cNvGraphicFramePr>
          <p:nvPr>
            <p:extLst>
              <p:ext uri="{D42A27DB-BD31-4B8C-83A1-F6EECF244321}">
                <p14:modId xmlns:p14="http://schemas.microsoft.com/office/powerpoint/2010/main" val="2057808727"/>
              </p:ext>
            </p:extLst>
          </p:nvPr>
        </p:nvGraphicFramePr>
        <p:xfrm>
          <a:off x="345815" y="1353217"/>
          <a:ext cx="10001769" cy="5272122"/>
        </p:xfrm>
        <a:graphic>
          <a:graphicData uri="http://schemas.openxmlformats.org/drawingml/2006/table">
            <a:tbl>
              <a:tblPr firstRow="1" bandRow="1"/>
              <a:tblGrid>
                <a:gridCol w="3387301">
                  <a:extLst>
                    <a:ext uri="{9D8B030D-6E8A-4147-A177-3AD203B41FA5}">
                      <a16:colId xmlns:a16="http://schemas.microsoft.com/office/drawing/2014/main" val="4099658833"/>
                    </a:ext>
                  </a:extLst>
                </a:gridCol>
                <a:gridCol w="1653617">
                  <a:extLst>
                    <a:ext uri="{9D8B030D-6E8A-4147-A177-3AD203B41FA5}">
                      <a16:colId xmlns:a16="http://schemas.microsoft.com/office/drawing/2014/main" val="3272180249"/>
                    </a:ext>
                  </a:extLst>
                </a:gridCol>
                <a:gridCol w="1653617">
                  <a:extLst>
                    <a:ext uri="{9D8B030D-6E8A-4147-A177-3AD203B41FA5}">
                      <a16:colId xmlns:a16="http://schemas.microsoft.com/office/drawing/2014/main" val="3572647427"/>
                    </a:ext>
                  </a:extLst>
                </a:gridCol>
                <a:gridCol w="1653617">
                  <a:extLst>
                    <a:ext uri="{9D8B030D-6E8A-4147-A177-3AD203B41FA5}">
                      <a16:colId xmlns:a16="http://schemas.microsoft.com/office/drawing/2014/main" val="1449849690"/>
                    </a:ext>
                  </a:extLst>
                </a:gridCol>
                <a:gridCol w="1653617">
                  <a:extLst>
                    <a:ext uri="{9D8B030D-6E8A-4147-A177-3AD203B41FA5}">
                      <a16:colId xmlns:a16="http://schemas.microsoft.com/office/drawing/2014/main" val="140121183"/>
                    </a:ext>
                  </a:extLst>
                </a:gridCol>
              </a:tblGrid>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dirty="0">
                          <a:latin typeface="Slate Pro" panose="02000506040000020004" pitchFamily="2" charset="0"/>
                          <a:cs typeface="Calibri" panose="020F0502020204030204" pitchFamily="34" charset="0"/>
                          <a:sym typeface="Slate Pro" panose="02000506040000020004" pitchFamily="2" charset="0"/>
                        </a:rPr>
                        <a:t>Partner Tier</a:t>
                      </a:r>
                    </a:p>
                  </a:txBody>
                  <a:tcP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noFill/>
                  </a:tcPr>
                </a:tc>
                <a:tc gridSpan="2">
                  <a:txBody>
                    <a:bodyPr/>
                    <a:lstStyle/>
                    <a:p>
                      <a:pPr algn="ctr"/>
                      <a:r>
                        <a:rPr lang="en-US" sz="1100" b="1">
                          <a:solidFill>
                            <a:schemeClr val="bg1"/>
                          </a:solidFill>
                          <a:latin typeface="Slate Pro" panose="02000506040000020004" pitchFamily="2" charset="0"/>
                          <a:cs typeface="Calibri" panose="020F0502020204030204" pitchFamily="34" charset="0"/>
                          <a:sym typeface="Slate Pro" panose="02000506040000020004" pitchFamily="2" charset="0"/>
                        </a:rPr>
                        <a:t>Silver</a:t>
                      </a:r>
                      <a:endParaRPr lang="en-US" sz="1100">
                        <a:solidFill>
                          <a:schemeClr val="bg1"/>
                        </a:solidFill>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hMerge="1">
                  <a:txBody>
                    <a:bodyPr/>
                    <a:lstStyle/>
                    <a:p>
                      <a:endParaRPr lang="en-US"/>
                    </a:p>
                  </a:txBody>
                  <a:tcPr/>
                </a:tc>
                <a:tc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a:solidFill>
                            <a:schemeClr val="bg1"/>
                          </a:solidFill>
                          <a:latin typeface="Slate Pro" panose="02000506040000020004" pitchFamily="2" charset="0"/>
                          <a:cs typeface="Calibri" panose="020F0502020204030204" pitchFamily="34" charset="0"/>
                          <a:sym typeface="Slate Pro" panose="02000506040000020004" pitchFamily="2" charset="0"/>
                        </a:rPr>
                        <a:t>Go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B737"/>
                    </a:solidFill>
                  </a:tcPr>
                </a:tc>
                <a:tc hMerge="1">
                  <a:txBody>
                    <a:bodyPr/>
                    <a:lstStyle/>
                    <a:p>
                      <a:endParaRPr lang="en-US"/>
                    </a:p>
                  </a:txBody>
                  <a:tcPr/>
                </a:tc>
                <a:extLst>
                  <a:ext uri="{0D108BD9-81ED-4DB2-BD59-A6C34878D82A}">
                    <a16:rowId xmlns:a16="http://schemas.microsoft.com/office/drawing/2014/main" val="4028751440"/>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r"/>
                      <a:r>
                        <a:rPr lang="en-US" sz="1100">
                          <a:latin typeface="Slate Pro" panose="02000506040000020004" pitchFamily="2" charset="0"/>
                          <a:cs typeface="Calibri" panose="020F0502020204030204" pitchFamily="34" charset="0"/>
                          <a:sym typeface="Slate Pro" panose="02000506040000020004" pitchFamily="2" charset="0"/>
                        </a:rPr>
                        <a:t>Market Size</a:t>
                      </a:r>
                    </a:p>
                  </a:txBody>
                  <a:tcP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latin typeface="Slate Pro" panose="02000506040000020004" pitchFamily="2" charset="0"/>
                          <a:cs typeface="Calibri" panose="020F0502020204030204" pitchFamily="34" charset="0"/>
                          <a:sym typeface="Slate Pro" panose="02000506040000020004" pitchFamily="2" charset="0"/>
                        </a:rPr>
                        <a:t>Sma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a:latin typeface="Slate Pro" panose="02000506040000020004" pitchFamily="2" charset="0"/>
                          <a:cs typeface="Calibri" panose="020F0502020204030204" pitchFamily="34" charset="0"/>
                          <a:sym typeface="Slate Pro" panose="02000506040000020004" pitchFamily="2" charset="0"/>
                        </a:rPr>
                        <a:t>Lar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a:latin typeface="Slate Pro" panose="02000506040000020004" pitchFamily="2" charset="0"/>
                          <a:cs typeface="Calibri" panose="020F0502020204030204" pitchFamily="34" charset="0"/>
                          <a:sym typeface="Slate Pro" panose="02000506040000020004" pitchFamily="2" charset="0"/>
                        </a:rPr>
                        <a:t>Sma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b="1" dirty="0">
                          <a:latin typeface="Slate Pro" panose="02000506040000020004" pitchFamily="2" charset="0"/>
                          <a:cs typeface="Calibri" panose="020F0502020204030204" pitchFamily="34" charset="0"/>
                          <a:sym typeface="Slate Pro" panose="02000506040000020004" pitchFamily="2" charset="0"/>
                        </a:rPr>
                        <a:t>Lar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7257932"/>
                  </a:ext>
                </a:extLst>
              </a:tr>
              <a:tr h="290583">
                <a:tc gridSpan="5">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r>
                        <a:rPr lang="en-US" sz="1100" b="1" dirty="0">
                          <a:solidFill>
                            <a:schemeClr val="bg1"/>
                          </a:solidFill>
                          <a:latin typeface="Slate Pro" panose="02000506040000020004" pitchFamily="2" charset="0"/>
                          <a:cs typeface="Calibri" panose="020F0502020204030204" pitchFamily="34" charset="0"/>
                          <a:sym typeface="Slate Pro" panose="02000506040000020004" pitchFamily="2" charset="0"/>
                        </a:rPr>
                        <a:t>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987C6"/>
                    </a:solidFill>
                  </a:tcPr>
                </a:tc>
                <a:tc hMerge="1">
                  <a:txBody>
                    <a:bodyPr/>
                    <a:lstStyle/>
                    <a:p>
                      <a:endParaRPr lang="en-US"/>
                    </a:p>
                  </a:txBody>
                  <a:tcPr>
                    <a:lnL w="12700" cmpd="sng">
                      <a:noFill/>
                      <a:prstDash val="solid"/>
                    </a:lnL>
                    <a:lnT w="12700" cmpd="sng">
                      <a:noFill/>
                      <a:prstDash val="solid"/>
                    </a:lnT>
                  </a:tcPr>
                </a:tc>
                <a:tc hMerge="1">
                  <a:txBody>
                    <a:bodyPr/>
                    <a:lstStyle/>
                    <a:p>
                      <a:pPr algn="ctr"/>
                      <a:endParaRPr lang="en-US" sz="900">
                        <a:latin typeface="Calibri" panose="020F0502020204030204" pitchFamily="34" charset="0"/>
                        <a:cs typeface="Calibri" panose="020F0502020204030204" pitchFamily="34" charset="0"/>
                      </a:endParaRPr>
                    </a:p>
                  </a:txBody>
                  <a:tcPr/>
                </a:tc>
                <a:tc hMerge="1">
                  <a:txBody>
                    <a:bodyPr/>
                    <a:lstStyle/>
                    <a:p>
                      <a:pPr algn="ctr"/>
                      <a:endParaRPr lang="en-US" sz="900">
                        <a:latin typeface="Calibri" panose="020F0502020204030204" pitchFamily="34" charset="0"/>
                        <a:cs typeface="Calibri" panose="020F0502020204030204" pitchFamily="34" charset="0"/>
                      </a:endParaRPr>
                    </a:p>
                  </a:txBody>
                  <a:tcPr/>
                </a:tc>
                <a:tc hMerge="1">
                  <a:txBody>
                    <a:bodyPr/>
                    <a:lstStyle/>
                    <a:p>
                      <a:pPr algn="ctr"/>
                      <a:endParaRPr lang="en-US" sz="9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99291008"/>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Deal Registration Program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7999360"/>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Renewals Program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Varies by Partner Type &amp; Country</a:t>
                      </a:r>
                      <a:endParaRPr lang="en-US" sz="1100" dirty="0">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tc hMerge="1">
                  <a:txBody>
                    <a:bodyPr/>
                    <a:lstStyle/>
                    <a:p>
                      <a:pPr algn="ctr"/>
                      <a:endParaRPr lang="en-US" sz="900"/>
                    </a:p>
                  </a:txBody>
                  <a:tcPr/>
                </a:tc>
                <a:tc hMerge="1">
                  <a:txBody>
                    <a:bodyPr/>
                    <a:lstStyle/>
                    <a:p>
                      <a:pPr algn="ctr"/>
                      <a:endParaRPr lang="en-US" sz="900"/>
                    </a:p>
                  </a:txBody>
                  <a:tcPr/>
                </a:tc>
                <a:extLst>
                  <a:ext uri="{0D108BD9-81ED-4DB2-BD59-A6C34878D82A}">
                    <a16:rowId xmlns:a16="http://schemas.microsoft.com/office/drawing/2014/main" val="1194770789"/>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a:solidFill>
                            <a:srgbClr val="000000"/>
                          </a:solidFill>
                          <a:effectLst/>
                          <a:latin typeface="Slate Pro" panose="02000506040000020004" pitchFamily="2" charset="0"/>
                          <a:cs typeface="Calibri" panose="020F0502020204030204" pitchFamily="34" charset="0"/>
                          <a:sym typeface="Slate Pro" panose="02000506040000020004" pitchFamily="2" charset="0"/>
                        </a:rPr>
                        <a:t>Partner Advisory Board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endParaRPr lang="en-US" sz="110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4475830"/>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a:solidFill>
                            <a:srgbClr val="000000"/>
                          </a:solidFill>
                          <a:effectLst/>
                          <a:latin typeface="Slate Pro" panose="02000506040000020004" pitchFamily="2" charset="0"/>
                          <a:cs typeface="Calibri" panose="020F0502020204030204" pitchFamily="34" charset="0"/>
                          <a:sym typeface="Slate Pro" panose="02000506040000020004" pitchFamily="2" charset="0"/>
                        </a:rPr>
                        <a:t>Regional Sales Director Cover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100">
                          <a:latin typeface="Slate Pro" panose="02000506040000020004" pitchFamily="2" charset="0"/>
                          <a:cs typeface="Calibri" panose="020F0502020204030204" pitchFamily="34" charset="0"/>
                          <a:sym typeface="Slate Pro" panose="02000506040000020004" pitchFamily="2" charset="0"/>
                        </a:rPr>
                        <a:t>Assignment dependent on Region</a:t>
                      </a:r>
                      <a:endParaRPr lang="en-US" sz="1100">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tc hMerge="1">
                  <a:txBody>
                    <a:bodyPr/>
                    <a:lstStyle/>
                    <a:p>
                      <a:pPr algn="ctr"/>
                      <a:endParaRPr lang="en-US" sz="900"/>
                    </a:p>
                  </a:txBody>
                  <a:tcPr/>
                </a:tc>
                <a:tc hMerge="1">
                  <a:txBody>
                    <a:bodyPr/>
                    <a:lstStyle/>
                    <a:p>
                      <a:pPr algn="ctr"/>
                      <a:endParaRPr lang="en-US" sz="900"/>
                    </a:p>
                  </a:txBody>
                  <a:tcPr/>
                </a:tc>
                <a:extLst>
                  <a:ext uri="{0D108BD9-81ED-4DB2-BD59-A6C34878D82A}">
                    <a16:rowId xmlns:a16="http://schemas.microsoft.com/office/drawing/2014/main" val="3310789116"/>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Regular Product Roadmap Upd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Annual</a:t>
                      </a:r>
                      <a:endParaRPr lang="en-US" sz="1100" dirty="0">
                        <a:latin typeface="Slate Pro" panose="02000506040000020004" pitchFamily="2" charset="0"/>
                        <a:sym typeface="Slate Pro" panose="0200050604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tc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Semi-annual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extLst>
                  <a:ext uri="{0D108BD9-81ED-4DB2-BD59-A6C34878D82A}">
                    <a16:rowId xmlns:a16="http://schemas.microsoft.com/office/drawing/2014/main" val="1816657705"/>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Demo or Trial Subscriptions (not for resa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Limited</a:t>
                      </a:r>
                      <a:endParaRPr lang="en-US" sz="1100" dirty="0">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tc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Fu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extLst>
                  <a:ext uri="{0D108BD9-81ED-4DB2-BD59-A6C34878D82A}">
                    <a16:rowId xmlns:a16="http://schemas.microsoft.com/office/drawing/2014/main" val="802184734"/>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Lead Pass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a:latin typeface="Slate Pro" panose="02000506040000020004" pitchFamily="2" charset="0"/>
                          <a:cs typeface="Calibri" panose="020F0502020204030204" pitchFamily="34" charset="0"/>
                          <a:sym typeface="Slate Pro" panose="02000506040000020004" pitchFamily="2" charset="0"/>
                        </a:rPr>
                        <a:t>Not Available</a:t>
                      </a:r>
                      <a:endParaRPr lang="en-US" sz="1100">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tc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vail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extLst>
                  <a:ext uri="{0D108BD9-81ED-4DB2-BD59-A6C34878D82A}">
                    <a16:rowId xmlns:a16="http://schemas.microsoft.com/office/drawing/2014/main" val="3023216478"/>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Discount off List (Partner sold Product 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50%</a:t>
                      </a:r>
                      <a:endParaRPr lang="en-US" sz="1100" dirty="0">
                        <a:latin typeface="Slate Pro" panose="02000506040000020004" pitchFamily="2"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tc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7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a:p>
                  </a:txBody>
                  <a:tcPr/>
                </a:tc>
                <a:extLst>
                  <a:ext uri="{0D108BD9-81ED-4DB2-BD59-A6C34878D82A}">
                    <a16:rowId xmlns:a16="http://schemas.microsoft.com/office/drawing/2014/main" val="2666267318"/>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algn="l" fontAlgn="b"/>
                      <a:r>
                        <a:rPr lang="en-US" sz="1100" b="1" i="0" u="none" strike="noStrike" dirty="0">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rPr>
                        <a:t>Program Logo Us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
                      <a:r>
                        <a:rPr lang="en-US" sz="1100" b="1" i="0" u="none" strike="noStrike">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031566"/>
                  </a:ext>
                </a:extLst>
              </a:tr>
              <a:tr h="396147">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algn="l" fontAlgn="b"/>
                      <a:r>
                        <a:rPr lang="en-US" sz="1100" b="1" i="0" u="none" strike="noStrike" dirty="0">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rPr>
                        <a:t>Partner Customizable Campaign Materials </a:t>
                      </a:r>
                    </a:p>
                    <a:p>
                      <a:pPr marL="0" algn="l" fontAlgn="b"/>
                      <a:r>
                        <a:rPr lang="en-US" sz="1100" b="1" i="0" u="none" strike="noStrike" dirty="0">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rPr>
                        <a:t>(co-brand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fontAlgn="b"/>
                      <a:endParaRPr lang="en-US" sz="1100" b="1" i="0" u="none" strike="noStrike">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endParaRPr lang="en-US" sz="110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7633625"/>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marL="0" algn="l" fontAlgn="b"/>
                      <a:r>
                        <a:rPr lang="en-US" sz="1100" b="1" i="0" u="none" strike="noStrike">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rPr>
                        <a:t>New Lead Generation Marketing Incentive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fontAlgn="b"/>
                      <a:endParaRPr lang="en-US" sz="1100" b="1" i="0" u="none" strike="noStrike">
                        <a:solidFill>
                          <a:srgbClr val="000000"/>
                        </a:solidFill>
                        <a:effectLst/>
                        <a:latin typeface="Slate Pro" panose="02000506040000020004" pitchFamily="2" charset="0"/>
                        <a:ea typeface="+mn-ea"/>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endParaRPr lang="en-US" sz="1100" dirty="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a:latin typeface="Slate Pro" panose="02000506040000020004" pitchFamily="2" charset="0"/>
                          <a:cs typeface="Calibri" panose="020F0502020204030204" pitchFamily="34" charset="0"/>
                          <a:sym typeface="Slate Pro" panose="02000506040000020004" pitchFamily="2"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6300617"/>
                  </a:ext>
                </a:extLst>
              </a:tr>
              <a:tr h="290583">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Partner Portal Acc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endParaRPr lang="en-US" sz="110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endParaRPr lang="en-US" sz="110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kumimoji="0" lang="en-US" sz="1100" b="0" i="0" u="none" strike="noStrike" kern="0" cap="none" spc="0" normalizeH="0" baseline="0" noProof="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endParaRPr lang="en-US" sz="110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kumimoji="0" lang="en-US" sz="1100" b="0" i="0" u="none" strike="noStrike" kern="0" cap="none" spc="0" normalizeH="0" baseline="0" noProof="0" dirty="0">
                          <a:ln>
                            <a:noFill/>
                          </a:ln>
                          <a:solidFill>
                            <a:srgbClr val="000000"/>
                          </a:solidFill>
                          <a:effectLst/>
                          <a:uLnTx/>
                          <a:uFillTx/>
                          <a:latin typeface="Slate Pro" panose="02000506040000020004" pitchFamily="2" charset="0"/>
                          <a:cs typeface="Calibri" panose="020F0502020204030204" pitchFamily="34" charset="0"/>
                          <a:sym typeface="Slate Pro" panose="02000506040000020004" pitchFamily="2" charset="0"/>
                        </a:rPr>
                        <a:t>●</a:t>
                      </a:r>
                      <a:endParaRPr lang="en-US" sz="1100" dirty="0">
                        <a:latin typeface="Slate Pro" panose="02000506040000020004" pitchFamily="2" charset="0"/>
                        <a:cs typeface="Calibri" panose="020F0502020204030204" pitchFamily="34" charset="0"/>
                        <a:sym typeface="Slate Pro" panose="02000506040000020004"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1254651"/>
                  </a:ext>
                </a:extLst>
              </a:tr>
              <a:tr h="214788">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Sales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gridSpan="2">
                  <a:txBody>
                    <a:bodyPr/>
                    <a:lstStyle/>
                    <a:p>
                      <a:pPr algn="ctr"/>
                      <a:r>
                        <a:rPr lang="en-US" sz="1100">
                          <a:latin typeface="Slate Pro" panose="02000506040000020004" pitchFamily="2" charset="0"/>
                          <a:cs typeface="Calibri" panose="020F0502020204030204" pitchFamily="34" charset="0"/>
                          <a:sym typeface="Slate Pro" panose="02000506040000020004" pitchFamily="2" charset="0"/>
                        </a:rPr>
                        <a:t>Yes (Full Price)</a:t>
                      </a:r>
                      <a:endParaRPr lang="en-US" sz="1100">
                        <a:latin typeface="Slate Pro" panose="02000506040000020004" pitchFamily="2" charset="0"/>
                        <a:sym typeface="Slate Pro" panose="0200050604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pPr algn="ctr"/>
                      <a:endParaRPr lang="en-US" sz="900"/>
                    </a:p>
                  </a:txBody>
                  <a:tcPr/>
                </a:tc>
                <a:tc rowSpan="3" gridSpan="2">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ctr"/>
                      <a:r>
                        <a:rPr lang="en-US" sz="1100" dirty="0">
                          <a:latin typeface="Slate Pro" panose="02000506040000020004" pitchFamily="2" charset="0"/>
                          <a:cs typeface="Calibri" panose="020F0502020204030204" pitchFamily="34" charset="0"/>
                          <a:sym typeface="Slate Pro" panose="02000506040000020004" pitchFamily="2" charset="0"/>
                        </a:rPr>
                        <a:t>Yes (Discoun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pPr algn="ctr"/>
                      <a:endParaRPr lang="en-US" sz="900"/>
                    </a:p>
                  </a:txBody>
                  <a:tcPr/>
                </a:tc>
                <a:extLst>
                  <a:ext uri="{0D108BD9-81ED-4DB2-BD59-A6C34878D82A}">
                    <a16:rowId xmlns:a16="http://schemas.microsoft.com/office/drawing/2014/main" val="2964247737"/>
                  </a:ext>
                </a:extLst>
              </a:tr>
              <a:tr h="214788">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Technical Engineer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endParaRPr lang="en-US"/>
                    </a:p>
                  </a:txBody>
                  <a:tcPr/>
                </a:tc>
                <a:tc hMerge="1" vMerge="1">
                  <a:txBody>
                    <a:bodyPr/>
                    <a:lstStyle/>
                    <a:p>
                      <a:pPr algn="ctr"/>
                      <a:endParaRPr lang="en-US" sz="900"/>
                    </a:p>
                  </a:txBody>
                  <a:tcPr/>
                </a:tc>
                <a:tc gridSpan="2" vMerge="1">
                  <a:txBody>
                    <a:bodyPr/>
                    <a:lstStyle/>
                    <a:p>
                      <a:pPr algn="ctr"/>
                      <a:endParaRPr lang="en-US" sz="900"/>
                    </a:p>
                  </a:txBody>
                  <a:tcPr/>
                </a:tc>
                <a:tc hMerge="1" vMerge="1">
                  <a:txBody>
                    <a:bodyPr/>
                    <a:lstStyle/>
                    <a:p>
                      <a:pPr algn="ctr"/>
                      <a:endParaRPr lang="en-US" sz="900"/>
                    </a:p>
                  </a:txBody>
                  <a:tcPr/>
                </a:tc>
                <a:extLst>
                  <a:ext uri="{0D108BD9-81ED-4DB2-BD59-A6C34878D82A}">
                    <a16:rowId xmlns:a16="http://schemas.microsoft.com/office/drawing/2014/main" val="1124108099"/>
                  </a:ext>
                </a:extLst>
              </a:tr>
              <a:tr h="168539">
                <a:tc>
                  <a:txBody>
                    <a:bodyPr/>
                    <a:lstStyle>
                      <a:lvl1pPr marL="0">
                        <a:defRPr>
                          <a:solidFill>
                            <a:schemeClr val="tx1"/>
                          </a:solidFill>
                          <a:latin typeface="Arial"/>
                        </a:defRPr>
                      </a:lvl1pPr>
                      <a:lvl2pPr marL="457200">
                        <a:defRPr>
                          <a:solidFill>
                            <a:schemeClr val="tx1"/>
                          </a:solidFill>
                          <a:latin typeface="Arial"/>
                        </a:defRPr>
                      </a:lvl2pPr>
                      <a:lvl3pPr marL="914400">
                        <a:defRPr>
                          <a:solidFill>
                            <a:schemeClr val="tx1"/>
                          </a:solidFill>
                          <a:latin typeface="Arial"/>
                        </a:defRPr>
                      </a:lvl3pPr>
                      <a:lvl4pPr marL="1371600">
                        <a:defRPr>
                          <a:solidFill>
                            <a:schemeClr val="tx1"/>
                          </a:solidFill>
                          <a:latin typeface="Arial"/>
                        </a:defRPr>
                      </a:lvl4pPr>
                      <a:lvl5pPr marL="1828800">
                        <a:defRPr>
                          <a:solidFill>
                            <a:schemeClr val="tx1"/>
                          </a:solidFill>
                          <a:latin typeface="Arial"/>
                        </a:defRPr>
                      </a:lvl5pPr>
                      <a:lvl6pPr marL="2286000">
                        <a:defRPr>
                          <a:solidFill>
                            <a:schemeClr val="tx1"/>
                          </a:solidFill>
                          <a:latin typeface="Arial"/>
                        </a:defRPr>
                      </a:lvl6pPr>
                      <a:lvl7pPr marL="2743200">
                        <a:defRPr>
                          <a:solidFill>
                            <a:schemeClr val="tx1"/>
                          </a:solidFill>
                          <a:latin typeface="Arial"/>
                        </a:defRPr>
                      </a:lvl7pPr>
                      <a:lvl8pPr marL="3200400">
                        <a:defRPr>
                          <a:solidFill>
                            <a:schemeClr val="tx1"/>
                          </a:solidFill>
                          <a:latin typeface="Arial"/>
                        </a:defRPr>
                      </a:lvl8pPr>
                      <a:lvl9pPr marL="3657600">
                        <a:defRPr>
                          <a:solidFill>
                            <a:schemeClr val="tx1"/>
                          </a:solidFill>
                          <a:latin typeface="Arial"/>
                        </a:defRPr>
                      </a:lvl9pPr>
                    </a:lstStyle>
                    <a:p>
                      <a:pPr algn="l" fontAlgn="b"/>
                      <a:r>
                        <a:rPr lang="en-US" sz="1100" b="1" i="0" u="none" strike="noStrike" dirty="0">
                          <a:solidFill>
                            <a:srgbClr val="000000"/>
                          </a:solidFill>
                          <a:effectLst/>
                          <a:latin typeface="Slate Pro" panose="02000506040000020004" pitchFamily="2" charset="0"/>
                          <a:cs typeface="Calibri" panose="020F0502020204030204" pitchFamily="34" charset="0"/>
                          <a:sym typeface="Slate Pro" panose="02000506040000020004" pitchFamily="2" charset="0"/>
                        </a:rPr>
                        <a:t>Delivery/Implementation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endParaRPr lang="en-US"/>
                    </a:p>
                  </a:txBody>
                  <a:tcPr/>
                </a:tc>
                <a:tc hMerge="1" vMerge="1">
                  <a:txBody>
                    <a:bodyPr/>
                    <a:lstStyle/>
                    <a:p>
                      <a:pPr algn="ctr"/>
                      <a:endParaRPr lang="en-US" sz="900"/>
                    </a:p>
                  </a:txBody>
                  <a:tcPr/>
                </a:tc>
                <a:tc gridSpan="2" vMerge="1">
                  <a:txBody>
                    <a:bodyPr/>
                    <a:lstStyle/>
                    <a:p>
                      <a:pPr algn="ctr"/>
                      <a:endParaRPr lang="en-US" sz="900"/>
                    </a:p>
                  </a:txBody>
                  <a:tcPr/>
                </a:tc>
                <a:tc hMerge="1" vMerge="1">
                  <a:txBody>
                    <a:bodyPr/>
                    <a:lstStyle/>
                    <a:p>
                      <a:pPr algn="ctr"/>
                      <a:endParaRPr lang="en-US" sz="900"/>
                    </a:p>
                  </a:txBody>
                  <a:tcPr/>
                </a:tc>
                <a:extLst>
                  <a:ext uri="{0D108BD9-81ED-4DB2-BD59-A6C34878D82A}">
                    <a16:rowId xmlns:a16="http://schemas.microsoft.com/office/drawing/2014/main" val="3011275688"/>
                  </a:ext>
                </a:extLst>
              </a:tr>
            </a:tbl>
          </a:graphicData>
        </a:graphic>
      </p:graphicFrame>
      <p:sp>
        <p:nvSpPr>
          <p:cNvPr id="23" name="object 8">
            <a:extLst>
              <a:ext uri="{FF2B5EF4-FFF2-40B4-BE49-F238E27FC236}">
                <a16:creationId xmlns:a16="http://schemas.microsoft.com/office/drawing/2014/main" id="{7571D5EE-B4C5-5E7F-11F2-3FD90D769884}"/>
              </a:ext>
            </a:extLst>
          </p:cNvPr>
          <p:cNvSpPr txBox="1">
            <a:spLocks/>
          </p:cNvSpPr>
          <p:nvPr/>
        </p:nvSpPr>
        <p:spPr>
          <a:xfrm>
            <a:off x="502920" y="397472"/>
            <a:ext cx="9746835" cy="505267"/>
          </a:xfrm>
          <a:prstGeom prst="rect">
            <a:avLst/>
          </a:prstGeom>
        </p:spPr>
        <p:txBody>
          <a:bodyPr vert="horz" wrap="square" lIns="0" tIns="12700" rIns="0" bIns="0" rtlCol="0">
            <a:spAutoFit/>
          </a:bodyPr>
          <a:lstStyle>
            <a:lvl1pPr>
              <a:defRPr sz="3550" b="1" i="0">
                <a:solidFill>
                  <a:srgbClr val="DA291C"/>
                </a:solidFill>
                <a:latin typeface="Arial"/>
                <a:ea typeface="+mj-ea"/>
                <a:cs typeface="Arial"/>
              </a:defRPr>
            </a:lvl1pPr>
          </a:lstStyle>
          <a:p>
            <a:pPr marL="12700">
              <a:spcBef>
                <a:spcPts val="100"/>
              </a:spcBef>
            </a:pPr>
            <a:r>
              <a:rPr lang="en-US" sz="3200" dirty="0">
                <a:solidFill>
                  <a:srgbClr val="5A87C5"/>
                </a:solidFill>
                <a:latin typeface="Slate Pro" panose="02000506040000020004" pitchFamily="2" charset="0"/>
                <a:sym typeface="Slate Pro" panose="02000506040000020004" pitchFamily="2" charset="0"/>
              </a:rPr>
              <a:t>Partner Program Benefits</a:t>
            </a:r>
          </a:p>
        </p:txBody>
      </p:sp>
      <p:sp>
        <p:nvSpPr>
          <p:cNvPr id="5" name="TextBox 4">
            <a:extLst>
              <a:ext uri="{FF2B5EF4-FFF2-40B4-BE49-F238E27FC236}">
                <a16:creationId xmlns:a16="http://schemas.microsoft.com/office/drawing/2014/main" id="{E2DC0CA5-4E66-AB74-B432-925D6A9C7B32}"/>
              </a:ext>
            </a:extLst>
          </p:cNvPr>
          <p:cNvSpPr txBox="1"/>
          <p:nvPr/>
        </p:nvSpPr>
        <p:spPr>
          <a:xfrm>
            <a:off x="550957" y="902739"/>
            <a:ext cx="9681516" cy="307777"/>
          </a:xfrm>
          <a:prstGeom prst="rect">
            <a:avLst/>
          </a:prstGeom>
          <a:noFill/>
        </p:spPr>
        <p:txBody>
          <a:bodyPr wrap="square" lIns="0">
            <a:spAutoFit/>
          </a:bodyPr>
          <a:lstStyle/>
          <a:p>
            <a:pPr algn="l"/>
            <a:r>
              <a:rPr lang="en-US" sz="1400" dirty="0">
                <a:latin typeface="Slate Pro" panose="02000506040000020004" pitchFamily="2" charset="0"/>
                <a:sym typeface="Slate Pro" panose="02000506040000020004" pitchFamily="2" charset="0"/>
              </a:rPr>
              <a:t>Below is an overview of the benefits you are entitled to as a member of the Partner Program.</a:t>
            </a:r>
          </a:p>
        </p:txBody>
      </p:sp>
      <p:sp>
        <p:nvSpPr>
          <p:cNvPr id="2" name="Holder 4">
            <a:extLst>
              <a:ext uri="{FF2B5EF4-FFF2-40B4-BE49-F238E27FC236}">
                <a16:creationId xmlns:a16="http://schemas.microsoft.com/office/drawing/2014/main" id="{897D9AA2-C921-50D1-126D-63F68ABFED00}"/>
              </a:ext>
            </a:extLst>
          </p:cNvPr>
          <p:cNvSpPr>
            <a:spLocks noGrp="1"/>
          </p:cNvSpPr>
          <p:nvPr>
            <p:ph type="ftr" sz="quarter" idx="5"/>
          </p:nvPr>
        </p:nvSpPr>
        <p:spPr>
          <a:xfrm>
            <a:off x="7167026" y="7274483"/>
            <a:ext cx="2647950" cy="115416"/>
          </a:xfrm>
        </p:spPr>
        <p:txBody>
          <a:bodyPr lIns="0" tIns="0" rIns="0" bIns="0"/>
          <a:lstStyle>
            <a:lvl1pPr algn="r">
              <a:defRPr sz="900" b="0" i="0">
                <a:solidFill>
                  <a:schemeClr val="bg1"/>
                </a:solidFill>
                <a:latin typeface="Arial"/>
                <a:cs typeface="Arial"/>
              </a:defRPr>
            </a:lvl1pPr>
          </a:lstStyle>
          <a:p>
            <a:pPr marL="12700">
              <a:lnSpc>
                <a:spcPts val="930"/>
              </a:lnSpc>
            </a:pPr>
            <a:r>
              <a:rPr lang="en-US">
                <a:latin typeface="Slate Pro" panose="02000506040000020004" pitchFamily="2" charset="0"/>
                <a:sym typeface="Slate Pro" panose="02000506040000020004" pitchFamily="2" charset="0"/>
              </a:rPr>
              <a:t>ACME </a:t>
            </a:r>
            <a:r>
              <a:rPr lang="en-US" spc="-40">
                <a:latin typeface="Slate Pro" panose="02000506040000020004" pitchFamily="2" charset="0"/>
                <a:sym typeface="Slate Pro" panose="02000506040000020004" pitchFamily="2" charset="0"/>
              </a:rPr>
              <a:t>PARTNER PROGRAM GUIDE</a:t>
            </a:r>
            <a:endParaRPr lang="en-US" spc="-10">
              <a:latin typeface="Slate Pro" panose="02000506040000020004" pitchFamily="2" charset="0"/>
              <a:sym typeface="Slate Pro" panose="02000506040000020004" pitchFamily="2" charset="0"/>
            </a:endParaRPr>
          </a:p>
        </p:txBody>
      </p:sp>
      <p:grpSp>
        <p:nvGrpSpPr>
          <p:cNvPr id="9" name="Group 8">
            <a:extLst>
              <a:ext uri="{FF2B5EF4-FFF2-40B4-BE49-F238E27FC236}">
                <a16:creationId xmlns:a16="http://schemas.microsoft.com/office/drawing/2014/main" id="{3A1C916D-2923-CC0B-097A-DC111D699857}"/>
              </a:ext>
            </a:extLst>
          </p:cNvPr>
          <p:cNvGrpSpPr/>
          <p:nvPr/>
        </p:nvGrpSpPr>
        <p:grpSpPr>
          <a:xfrm>
            <a:off x="157427" y="7205390"/>
            <a:ext cx="2416310" cy="276999"/>
            <a:chOff x="157428" y="7205390"/>
            <a:chExt cx="2132373" cy="276999"/>
          </a:xfrm>
        </p:grpSpPr>
        <p:sp>
          <p:nvSpPr>
            <p:cNvPr id="10" name="TextBox 9">
              <a:hlinkClick r:id="rId6" action="ppaction://hlinksldjump"/>
              <a:extLst>
                <a:ext uri="{FF2B5EF4-FFF2-40B4-BE49-F238E27FC236}">
                  <a16:creationId xmlns:a16="http://schemas.microsoft.com/office/drawing/2014/main" id="{99E57DCF-D649-3E09-652B-A1712981F251}"/>
                </a:ext>
              </a:extLst>
            </p:cNvPr>
            <p:cNvSpPr txBox="1"/>
            <p:nvPr/>
          </p:nvSpPr>
          <p:spPr>
            <a:xfrm>
              <a:off x="502099" y="7205390"/>
              <a:ext cx="1787702" cy="276999"/>
            </a:xfrm>
            <a:prstGeom prst="rect">
              <a:avLst/>
            </a:prstGeom>
            <a:noFill/>
          </p:spPr>
          <p:txBody>
            <a:bodyPr wrap="square">
              <a:spAutoFit/>
            </a:bodyPr>
            <a:lstStyle/>
            <a:p>
              <a:r>
                <a:rPr lang="en-US" sz="1200" dirty="0">
                  <a:solidFill>
                    <a:srgbClr val="FFFFFF"/>
                  </a:solidFill>
                  <a:latin typeface="Slate Pro" panose="02000506040000020004" pitchFamily="2" charset="0"/>
                  <a:sym typeface="Slate Pro" panose="02000506040000020004" pitchFamily="2" charset="0"/>
                </a:rPr>
                <a:t>TABLE OF CONTENTS</a:t>
              </a:r>
              <a:endParaRPr lang="en-US" sz="1200" dirty="0">
                <a:latin typeface="Slate Pro" panose="02000506040000020004" pitchFamily="2" charset="0"/>
                <a:sym typeface="Slate Pro" panose="02000506040000020004" pitchFamily="2" charset="0"/>
              </a:endParaRPr>
            </a:p>
          </p:txBody>
        </p:sp>
        <p:sp>
          <p:nvSpPr>
            <p:cNvPr id="11" name="Arrow: Right 10">
              <a:extLst>
                <a:ext uri="{FF2B5EF4-FFF2-40B4-BE49-F238E27FC236}">
                  <a16:creationId xmlns:a16="http://schemas.microsoft.com/office/drawing/2014/main" id="{6F717C94-78E6-53F2-5575-D1419CA72BBB}"/>
                </a:ext>
              </a:extLst>
            </p:cNvPr>
            <p:cNvSpPr/>
            <p:nvPr/>
          </p:nvSpPr>
          <p:spPr>
            <a:xfrm rot="10800000">
              <a:off x="157428" y="7214817"/>
              <a:ext cx="318468" cy="244332"/>
            </a:xfrm>
            <a:prstGeom prst="rightArrow">
              <a:avLst>
                <a:gd name="adj1" fmla="val 50000"/>
                <a:gd name="adj2" fmla="val 7807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5676852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3.xml><?xml version="1.0" encoding="utf-8"?>
<a:theme xmlns:a="http://schemas.openxmlformats.org/drawingml/2006/main" name="1_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3b0eac3-55b5-4ee4-ade7-be65d09c5d6e">
      <Terms xmlns="http://schemas.microsoft.com/office/infopath/2007/PartnerControls"/>
    </lcf76f155ced4ddcb4097134ff3c332f>
    <TaxCatchAll xmlns="b71745fe-8e84-41ad-935b-7c5d8babdf9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2" ma:contentTypeDescription="Create a new document." ma:contentTypeScope="" ma:versionID="6e5d6c9c5829e93b1e9bab0aa37d09fa">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a4f86593e92907eb38362053afadf1e"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1A596E-DFC1-4DFF-921E-E5618392291B}">
  <ds:schemaRefs>
    <ds:schemaRef ds:uri="http://www.w3.org/XML/1998/namespace"/>
    <ds:schemaRef ds:uri="http://purl.org/dc/dcmitype/"/>
    <ds:schemaRef ds:uri="http://purl.org/dc/terms/"/>
    <ds:schemaRef ds:uri="http://schemas.microsoft.com/office/infopath/2007/PartnerControls"/>
    <ds:schemaRef ds:uri="http://schemas.microsoft.com/office/2006/documentManagement/types"/>
    <ds:schemaRef ds:uri="http://purl.org/dc/elements/1.1/"/>
    <ds:schemaRef ds:uri="a3b0eac3-55b5-4ee4-ade7-be65d09c5d6e"/>
    <ds:schemaRef ds:uri="http://schemas.openxmlformats.org/package/2006/metadata/core-properties"/>
    <ds:schemaRef ds:uri="b71745fe-8e84-41ad-935b-7c5d8babdf9e"/>
    <ds:schemaRef ds:uri="http://schemas.microsoft.com/office/2006/metadata/properties"/>
  </ds:schemaRefs>
</ds:datastoreItem>
</file>

<file path=customXml/itemProps2.xml><?xml version="1.0" encoding="utf-8"?>
<ds:datastoreItem xmlns:ds="http://schemas.openxmlformats.org/officeDocument/2006/customXml" ds:itemID="{ECDDFC4D-7E6A-462C-B672-F0153267F514}">
  <ds:schemaRefs>
    <ds:schemaRef ds:uri="http://schemas.microsoft.com/sharepoint/v3/contenttype/forms"/>
  </ds:schemaRefs>
</ds:datastoreItem>
</file>

<file path=customXml/itemProps3.xml><?xml version="1.0" encoding="utf-8"?>
<ds:datastoreItem xmlns:ds="http://schemas.openxmlformats.org/officeDocument/2006/customXml" ds:itemID="{1E62E31E-4696-4040-83B2-8D3560FFB8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595</Words>
  <Application>Microsoft Office PowerPoint</Application>
  <PresentationFormat>Custom</PresentationFormat>
  <Paragraphs>635</Paragraphs>
  <Slides>24</Slides>
  <Notes>23</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3" baseType="lpstr">
      <vt:lpstr>Arial</vt:lpstr>
      <vt:lpstr>Avenir Next LT Pro</vt:lpstr>
      <vt:lpstr>Courier New</vt:lpstr>
      <vt:lpstr>Slate Pro</vt:lpstr>
      <vt:lpstr>Wingdings</vt:lpstr>
      <vt:lpstr>Office Theme</vt:lpstr>
      <vt:lpstr>SBI PPT</vt:lpstr>
      <vt:lpstr>1_SBI PPT</vt:lpstr>
      <vt:lpstr>think-cell Slide</vt:lpstr>
      <vt:lpstr>Channel Partner Program Guide Template</vt:lpstr>
      <vt:lpstr>How to use this document</vt:lpstr>
      <vt:lpstr>ACME Partner Program Guide</vt:lpstr>
      <vt:lpstr>PowerPoint Presentation</vt:lpstr>
      <vt:lpstr>Welcome to the ACME Partner Program</vt:lpstr>
      <vt:lpstr>Your Portal For Success</vt:lpstr>
      <vt:lpstr>Partner Types — Who Do We Work With </vt:lpstr>
      <vt:lpstr>Path To Partnership </vt:lpstr>
      <vt:lpstr>PowerPoint Presentation</vt:lpstr>
      <vt:lpstr>Benefits and Requirements</vt:lpstr>
      <vt:lpstr>PowerPoint Presentation</vt:lpstr>
      <vt:lpstr>Partner Incentive Model</vt:lpstr>
      <vt:lpstr>Partner Incentive Model — Detail</vt:lpstr>
      <vt:lpstr>How the New Incentive Model Will Benefit You</vt:lpstr>
      <vt:lpstr>Deal Registration</vt:lpstr>
      <vt:lpstr>Resources For Partners </vt:lpstr>
      <vt:lpstr>Partner Communication Resources</vt:lpstr>
      <vt:lpstr>Marketing Resources</vt:lpstr>
      <vt:lpstr>PowerPoint Presentation</vt:lpstr>
      <vt:lpstr>Partner Onboarding Requirements</vt:lpstr>
      <vt:lpstr>Partner Sales Training Requirements</vt:lpstr>
      <vt:lpstr>Technical Certifications</vt:lpstr>
      <vt:lpstr>Partner Certification Requirements</vt:lpstr>
      <vt:lpstr>Get In Touch Toda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AD Partner Program Guide – FY24</dc:title>
  <dc:creator/>
  <cp:lastModifiedBy/>
  <cp:revision>4</cp:revision>
  <dcterms:created xsi:type="dcterms:W3CDTF">2022-11-07T23:07:48Z</dcterms:created>
  <dcterms:modified xsi:type="dcterms:W3CDTF">2023-11-08T21:4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45970336D75C4CAB2ECCCE65268DD7</vt:lpwstr>
  </property>
  <property fmtid="{D5CDD505-2E9C-101B-9397-08002B2CF9AE}" pid="3" name="MediaServiceImageTags">
    <vt:lpwstr/>
  </property>
  <property fmtid="{D5CDD505-2E9C-101B-9397-08002B2CF9AE}" pid="4" name="Order">
    <vt:r8>3700</vt:r8>
  </property>
</Properties>
</file>